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6"/>
  </p:notesMasterIdLst>
  <p:sldIdLst>
    <p:sldId id="256" r:id="rId3"/>
    <p:sldId id="257" r:id="rId4"/>
    <p:sldId id="258" r:id="rId5"/>
    <p:sldId id="260" r:id="rId6"/>
    <p:sldId id="266" r:id="rId7"/>
    <p:sldId id="261" r:id="rId8"/>
    <p:sldId id="267" r:id="rId9"/>
    <p:sldId id="259" r:id="rId10"/>
    <p:sldId id="262" r:id="rId11"/>
    <p:sldId id="263" r:id="rId12"/>
    <p:sldId id="264" r:id="rId13"/>
    <p:sldId id="273" r:id="rId14"/>
    <p:sldId id="284" r:id="rId15"/>
    <p:sldId id="285" r:id="rId16"/>
    <p:sldId id="286" r:id="rId17"/>
    <p:sldId id="287" r:id="rId18"/>
    <p:sldId id="288" r:id="rId19"/>
    <p:sldId id="289" r:id="rId20"/>
    <p:sldId id="290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65" r:id="rId30"/>
    <p:sldId id="268" r:id="rId31"/>
    <p:sldId id="269" r:id="rId32"/>
    <p:sldId id="270" r:id="rId33"/>
    <p:sldId id="271" r:id="rId34"/>
    <p:sldId id="272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94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55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F08D29-B512-43BF-A3C6-5D1470E0C679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886836-C264-476D-A9A4-0DB0E3996F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159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98134" y="4210854"/>
            <a:ext cx="6485546" cy="246221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577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776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3983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0868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494D4A5-F03E-4980-A019-AA2719481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4" b="184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C010C59-D0F4-4FE8-88B7-4FF5E14B06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429139 w 12192000"/>
              <a:gd name="connsiteY0" fmla="*/ 6161467 h 6858000"/>
              <a:gd name="connsiteX1" fmla="*/ 1102568 w 12192000"/>
              <a:gd name="connsiteY1" fmla="*/ 6488038 h 6858000"/>
              <a:gd name="connsiteX2" fmla="*/ 1429139 w 12192000"/>
              <a:gd name="connsiteY2" fmla="*/ 6814609 h 6858000"/>
              <a:gd name="connsiteX3" fmla="*/ 1755710 w 12192000"/>
              <a:gd name="connsiteY3" fmla="*/ 6488038 h 6858000"/>
              <a:gd name="connsiteX4" fmla="*/ 1429139 w 12192000"/>
              <a:gd name="connsiteY4" fmla="*/ 6161467 h 6858000"/>
              <a:gd name="connsiteX5" fmla="*/ 8162314 w 12192000"/>
              <a:gd name="connsiteY5" fmla="*/ 5649061 h 6858000"/>
              <a:gd name="connsiteX6" fmla="*/ 8036905 w 12192000"/>
              <a:gd name="connsiteY6" fmla="*/ 5701007 h 6858000"/>
              <a:gd name="connsiteX7" fmla="*/ 7335995 w 12192000"/>
              <a:gd name="connsiteY7" fmla="*/ 6401917 h 6858000"/>
              <a:gd name="connsiteX8" fmla="*/ 7335995 w 12192000"/>
              <a:gd name="connsiteY8" fmla="*/ 6652735 h 6858000"/>
              <a:gd name="connsiteX9" fmla="*/ 7357954 w 12192000"/>
              <a:gd name="connsiteY9" fmla="*/ 6674694 h 6858000"/>
              <a:gd name="connsiteX10" fmla="*/ 7608772 w 12192000"/>
              <a:gd name="connsiteY10" fmla="*/ 6674694 h 6858000"/>
              <a:gd name="connsiteX11" fmla="*/ 8309682 w 12192000"/>
              <a:gd name="connsiteY11" fmla="*/ 5973784 h 6858000"/>
              <a:gd name="connsiteX12" fmla="*/ 8309682 w 12192000"/>
              <a:gd name="connsiteY12" fmla="*/ 5722966 h 6858000"/>
              <a:gd name="connsiteX13" fmla="*/ 8287723 w 12192000"/>
              <a:gd name="connsiteY13" fmla="*/ 5701007 h 6858000"/>
              <a:gd name="connsiteX14" fmla="*/ 8162314 w 12192000"/>
              <a:gd name="connsiteY14" fmla="*/ 5649061 h 6858000"/>
              <a:gd name="connsiteX15" fmla="*/ 899628 w 12192000"/>
              <a:gd name="connsiteY15" fmla="*/ 5446562 h 6858000"/>
              <a:gd name="connsiteX16" fmla="*/ 573057 w 12192000"/>
              <a:gd name="connsiteY16" fmla="*/ 5773133 h 6858000"/>
              <a:gd name="connsiteX17" fmla="*/ 899628 w 12192000"/>
              <a:gd name="connsiteY17" fmla="*/ 6099704 h 6858000"/>
              <a:gd name="connsiteX18" fmla="*/ 1226199 w 12192000"/>
              <a:gd name="connsiteY18" fmla="*/ 5773133 h 6858000"/>
              <a:gd name="connsiteX19" fmla="*/ 899628 w 12192000"/>
              <a:gd name="connsiteY19" fmla="*/ 5446562 h 6858000"/>
              <a:gd name="connsiteX20" fmla="*/ 370117 w 12192000"/>
              <a:gd name="connsiteY20" fmla="*/ 4731656 h 6858000"/>
              <a:gd name="connsiteX21" fmla="*/ 43547 w 12192000"/>
              <a:gd name="connsiteY21" fmla="*/ 5058227 h 6858000"/>
              <a:gd name="connsiteX22" fmla="*/ 370117 w 12192000"/>
              <a:gd name="connsiteY22" fmla="*/ 5384798 h 6858000"/>
              <a:gd name="connsiteX23" fmla="*/ 696689 w 12192000"/>
              <a:gd name="connsiteY23" fmla="*/ 5058227 h 6858000"/>
              <a:gd name="connsiteX24" fmla="*/ 370117 w 12192000"/>
              <a:gd name="connsiteY24" fmla="*/ 4731656 h 6858000"/>
              <a:gd name="connsiteX25" fmla="*/ 8139025 w 12192000"/>
              <a:gd name="connsiteY25" fmla="*/ 4569563 h 6858000"/>
              <a:gd name="connsiteX26" fmla="*/ 8013616 w 12192000"/>
              <a:gd name="connsiteY26" fmla="*/ 4621508 h 6858000"/>
              <a:gd name="connsiteX27" fmla="*/ 6236292 w 12192000"/>
              <a:gd name="connsiteY27" fmla="*/ 6398833 h 6858000"/>
              <a:gd name="connsiteX28" fmla="*/ 6236292 w 12192000"/>
              <a:gd name="connsiteY28" fmla="*/ 6649651 h 6858000"/>
              <a:gd name="connsiteX29" fmla="*/ 6258251 w 12192000"/>
              <a:gd name="connsiteY29" fmla="*/ 6671610 h 6858000"/>
              <a:gd name="connsiteX30" fmla="*/ 6509069 w 12192000"/>
              <a:gd name="connsiteY30" fmla="*/ 6671610 h 6858000"/>
              <a:gd name="connsiteX31" fmla="*/ 8286393 w 12192000"/>
              <a:gd name="connsiteY31" fmla="*/ 4894285 h 6858000"/>
              <a:gd name="connsiteX32" fmla="*/ 8286393 w 12192000"/>
              <a:gd name="connsiteY32" fmla="*/ 4643467 h 6858000"/>
              <a:gd name="connsiteX33" fmla="*/ 8264434 w 12192000"/>
              <a:gd name="connsiteY33" fmla="*/ 4621508 h 6858000"/>
              <a:gd name="connsiteX34" fmla="*/ 8139025 w 12192000"/>
              <a:gd name="connsiteY34" fmla="*/ 4569563 h 6858000"/>
              <a:gd name="connsiteX35" fmla="*/ 7618325 w 12192000"/>
              <a:gd name="connsiteY35" fmla="*/ 3939483 h 6858000"/>
              <a:gd name="connsiteX36" fmla="*/ 7492916 w 12192000"/>
              <a:gd name="connsiteY36" fmla="*/ 3991429 h 6858000"/>
              <a:gd name="connsiteX37" fmla="*/ 5016683 w 12192000"/>
              <a:gd name="connsiteY37" fmla="*/ 6467663 h 6858000"/>
              <a:gd name="connsiteX38" fmla="*/ 5016683 w 12192000"/>
              <a:gd name="connsiteY38" fmla="*/ 6718481 h 6858000"/>
              <a:gd name="connsiteX39" fmla="*/ 5038642 w 12192000"/>
              <a:gd name="connsiteY39" fmla="*/ 6740440 h 6858000"/>
              <a:gd name="connsiteX40" fmla="*/ 5289460 w 12192000"/>
              <a:gd name="connsiteY40" fmla="*/ 6740440 h 6858000"/>
              <a:gd name="connsiteX41" fmla="*/ 7765693 w 12192000"/>
              <a:gd name="connsiteY41" fmla="*/ 4264206 h 6858000"/>
              <a:gd name="connsiteX42" fmla="*/ 7765693 w 12192000"/>
              <a:gd name="connsiteY42" fmla="*/ 4013388 h 6858000"/>
              <a:gd name="connsiteX43" fmla="*/ 7743734 w 12192000"/>
              <a:gd name="connsiteY43" fmla="*/ 3991429 h 6858000"/>
              <a:gd name="connsiteX44" fmla="*/ 7618325 w 12192000"/>
              <a:gd name="connsiteY44" fmla="*/ 3939483 h 6858000"/>
              <a:gd name="connsiteX45" fmla="*/ 10089754 w 12192000"/>
              <a:gd name="connsiteY45" fmla="*/ 3704146 h 6858000"/>
              <a:gd name="connsiteX46" fmla="*/ 9964345 w 12192000"/>
              <a:gd name="connsiteY46" fmla="*/ 3756091 h 6858000"/>
              <a:gd name="connsiteX47" fmla="*/ 8460165 w 12192000"/>
              <a:gd name="connsiteY47" fmla="*/ 5260272 h 6858000"/>
              <a:gd name="connsiteX48" fmla="*/ 8460165 w 12192000"/>
              <a:gd name="connsiteY48" fmla="*/ 5511090 h 6858000"/>
              <a:gd name="connsiteX49" fmla="*/ 8482124 w 12192000"/>
              <a:gd name="connsiteY49" fmla="*/ 5533049 h 6858000"/>
              <a:gd name="connsiteX50" fmla="*/ 8732942 w 12192000"/>
              <a:gd name="connsiteY50" fmla="*/ 5533049 h 6858000"/>
              <a:gd name="connsiteX51" fmla="*/ 10237122 w 12192000"/>
              <a:gd name="connsiteY51" fmla="*/ 4028868 h 6858000"/>
              <a:gd name="connsiteX52" fmla="*/ 10237122 w 12192000"/>
              <a:gd name="connsiteY52" fmla="*/ 3778051 h 6858000"/>
              <a:gd name="connsiteX53" fmla="*/ 10215163 w 12192000"/>
              <a:gd name="connsiteY53" fmla="*/ 3756091 h 6858000"/>
              <a:gd name="connsiteX54" fmla="*/ 10089754 w 12192000"/>
              <a:gd name="connsiteY54" fmla="*/ 3704146 h 6858000"/>
              <a:gd name="connsiteX55" fmla="*/ 10041065 w 12192000"/>
              <a:gd name="connsiteY55" fmla="*/ 2624647 h 6858000"/>
              <a:gd name="connsiteX56" fmla="*/ 9915656 w 12192000"/>
              <a:gd name="connsiteY56" fmla="*/ 2676593 h 6858000"/>
              <a:gd name="connsiteX57" fmla="*/ 8411476 w 12192000"/>
              <a:gd name="connsiteY57" fmla="*/ 4180773 h 6858000"/>
              <a:gd name="connsiteX58" fmla="*/ 8411476 w 12192000"/>
              <a:gd name="connsiteY58" fmla="*/ 4431591 h 6858000"/>
              <a:gd name="connsiteX59" fmla="*/ 8433435 w 12192000"/>
              <a:gd name="connsiteY59" fmla="*/ 4453550 h 6858000"/>
              <a:gd name="connsiteX60" fmla="*/ 8684253 w 12192000"/>
              <a:gd name="connsiteY60" fmla="*/ 4453550 h 6858000"/>
              <a:gd name="connsiteX61" fmla="*/ 10188433 w 12192000"/>
              <a:gd name="connsiteY61" fmla="*/ 2949370 h 6858000"/>
              <a:gd name="connsiteX62" fmla="*/ 10188433 w 12192000"/>
              <a:gd name="connsiteY62" fmla="*/ 2698552 h 6858000"/>
              <a:gd name="connsiteX63" fmla="*/ 10166474 w 12192000"/>
              <a:gd name="connsiteY63" fmla="*/ 2676593 h 6858000"/>
              <a:gd name="connsiteX64" fmla="*/ 10041065 w 12192000"/>
              <a:gd name="connsiteY64" fmla="*/ 2624647 h 6858000"/>
              <a:gd name="connsiteX65" fmla="*/ 9520364 w 12192000"/>
              <a:gd name="connsiteY65" fmla="*/ 1994569 h 6858000"/>
              <a:gd name="connsiteX66" fmla="*/ 9394955 w 12192000"/>
              <a:gd name="connsiteY66" fmla="*/ 2046515 h 6858000"/>
              <a:gd name="connsiteX67" fmla="*/ 7890775 w 12192000"/>
              <a:gd name="connsiteY67" fmla="*/ 3550695 h 6858000"/>
              <a:gd name="connsiteX68" fmla="*/ 7890775 w 12192000"/>
              <a:gd name="connsiteY68" fmla="*/ 3801513 h 6858000"/>
              <a:gd name="connsiteX69" fmla="*/ 7912734 w 12192000"/>
              <a:gd name="connsiteY69" fmla="*/ 3823472 h 6858000"/>
              <a:gd name="connsiteX70" fmla="*/ 8163552 w 12192000"/>
              <a:gd name="connsiteY70" fmla="*/ 3823472 h 6858000"/>
              <a:gd name="connsiteX71" fmla="*/ 9667732 w 12192000"/>
              <a:gd name="connsiteY71" fmla="*/ 2319292 h 6858000"/>
              <a:gd name="connsiteX72" fmla="*/ 9667732 w 12192000"/>
              <a:gd name="connsiteY72" fmla="*/ 2068475 h 6858000"/>
              <a:gd name="connsiteX73" fmla="*/ 9645773 w 12192000"/>
              <a:gd name="connsiteY73" fmla="*/ 2046515 h 6858000"/>
              <a:gd name="connsiteX74" fmla="*/ 9520364 w 12192000"/>
              <a:gd name="connsiteY74" fmla="*/ 1994569 h 6858000"/>
              <a:gd name="connsiteX75" fmla="*/ 11974643 w 12192000"/>
              <a:gd name="connsiteY75" fmla="*/ 1766977 h 6858000"/>
              <a:gd name="connsiteX76" fmla="*/ 11849234 w 12192000"/>
              <a:gd name="connsiteY76" fmla="*/ 1818923 h 6858000"/>
              <a:gd name="connsiteX77" fmla="*/ 10345054 w 12192000"/>
              <a:gd name="connsiteY77" fmla="*/ 3323103 h 6858000"/>
              <a:gd name="connsiteX78" fmla="*/ 10345054 w 12192000"/>
              <a:gd name="connsiteY78" fmla="*/ 3573920 h 6858000"/>
              <a:gd name="connsiteX79" fmla="*/ 10367013 w 12192000"/>
              <a:gd name="connsiteY79" fmla="*/ 3595879 h 6858000"/>
              <a:gd name="connsiteX80" fmla="*/ 10617831 w 12192000"/>
              <a:gd name="connsiteY80" fmla="*/ 3595879 h 6858000"/>
              <a:gd name="connsiteX81" fmla="*/ 12122011 w 12192000"/>
              <a:gd name="connsiteY81" fmla="*/ 2091700 h 6858000"/>
              <a:gd name="connsiteX82" fmla="*/ 12122011 w 12192000"/>
              <a:gd name="connsiteY82" fmla="*/ 1840882 h 6858000"/>
              <a:gd name="connsiteX83" fmla="*/ 12100052 w 12192000"/>
              <a:gd name="connsiteY83" fmla="*/ 1818923 h 6858000"/>
              <a:gd name="connsiteX84" fmla="*/ 11974643 w 12192000"/>
              <a:gd name="connsiteY84" fmla="*/ 1766977 h 6858000"/>
              <a:gd name="connsiteX85" fmla="*/ 4017223 w 12192000"/>
              <a:gd name="connsiteY85" fmla="*/ 734456 h 6858000"/>
              <a:gd name="connsiteX86" fmla="*/ 3560024 w 12192000"/>
              <a:gd name="connsiteY86" fmla="*/ 1191656 h 6858000"/>
              <a:gd name="connsiteX87" fmla="*/ 4017223 w 12192000"/>
              <a:gd name="connsiteY87" fmla="*/ 1648856 h 6858000"/>
              <a:gd name="connsiteX88" fmla="*/ 4474421 w 12192000"/>
              <a:gd name="connsiteY88" fmla="*/ 1191656 h 6858000"/>
              <a:gd name="connsiteX89" fmla="*/ 5708917 w 12192000"/>
              <a:gd name="connsiteY89" fmla="*/ 734456 h 6858000"/>
              <a:gd name="connsiteX90" fmla="*/ 5251717 w 12192000"/>
              <a:gd name="connsiteY90" fmla="*/ 1191656 h 6858000"/>
              <a:gd name="connsiteX91" fmla="*/ 5708917 w 12192000"/>
              <a:gd name="connsiteY91" fmla="*/ 1648856 h 6858000"/>
              <a:gd name="connsiteX92" fmla="*/ 6166116 w 12192000"/>
              <a:gd name="connsiteY92" fmla="*/ 1191656 h 6858000"/>
              <a:gd name="connsiteX93" fmla="*/ 7400612 w 12192000"/>
              <a:gd name="connsiteY93" fmla="*/ 734455 h 6858000"/>
              <a:gd name="connsiteX94" fmla="*/ 6943412 w 12192000"/>
              <a:gd name="connsiteY94" fmla="*/ 1191656 h 6858000"/>
              <a:gd name="connsiteX95" fmla="*/ 7400612 w 12192000"/>
              <a:gd name="connsiteY95" fmla="*/ 1648856 h 6858000"/>
              <a:gd name="connsiteX96" fmla="*/ 7857812 w 12192000"/>
              <a:gd name="connsiteY96" fmla="*/ 1191656 h 6858000"/>
              <a:gd name="connsiteX97" fmla="*/ 9092308 w 12192000"/>
              <a:gd name="connsiteY97" fmla="*/ 734455 h 6858000"/>
              <a:gd name="connsiteX98" fmla="*/ 8635108 w 12192000"/>
              <a:gd name="connsiteY98" fmla="*/ 1191655 h 6858000"/>
              <a:gd name="connsiteX99" fmla="*/ 9092308 w 12192000"/>
              <a:gd name="connsiteY99" fmla="*/ 1648855 h 6858000"/>
              <a:gd name="connsiteX100" fmla="*/ 9549508 w 12192000"/>
              <a:gd name="connsiteY100" fmla="*/ 1191655 h 6858000"/>
              <a:gd name="connsiteX101" fmla="*/ 11938654 w 12192000"/>
              <a:gd name="connsiteY101" fmla="*/ 725578 h 6858000"/>
              <a:gd name="connsiteX102" fmla="*/ 11813245 w 12192000"/>
              <a:gd name="connsiteY102" fmla="*/ 777523 h 6858000"/>
              <a:gd name="connsiteX103" fmla="*/ 10309065 w 12192000"/>
              <a:gd name="connsiteY103" fmla="*/ 2281704 h 6858000"/>
              <a:gd name="connsiteX104" fmla="*/ 10309065 w 12192000"/>
              <a:gd name="connsiteY104" fmla="*/ 2532522 h 6858000"/>
              <a:gd name="connsiteX105" fmla="*/ 10331024 w 12192000"/>
              <a:gd name="connsiteY105" fmla="*/ 2554481 h 6858000"/>
              <a:gd name="connsiteX106" fmla="*/ 10581842 w 12192000"/>
              <a:gd name="connsiteY106" fmla="*/ 2554481 h 6858000"/>
              <a:gd name="connsiteX107" fmla="*/ 12086022 w 12192000"/>
              <a:gd name="connsiteY107" fmla="*/ 1050300 h 6858000"/>
              <a:gd name="connsiteX108" fmla="*/ 12086022 w 12192000"/>
              <a:gd name="connsiteY108" fmla="*/ 799483 h 6858000"/>
              <a:gd name="connsiteX109" fmla="*/ 12064063 w 12192000"/>
              <a:gd name="connsiteY109" fmla="*/ 777523 h 6858000"/>
              <a:gd name="connsiteX110" fmla="*/ 11938654 w 12192000"/>
              <a:gd name="connsiteY110" fmla="*/ 725578 h 6858000"/>
              <a:gd name="connsiteX111" fmla="*/ 11405253 w 12192000"/>
              <a:gd name="connsiteY111" fmla="*/ 57401 h 6858000"/>
              <a:gd name="connsiteX112" fmla="*/ 11279844 w 12192000"/>
              <a:gd name="connsiteY112" fmla="*/ 109347 h 6858000"/>
              <a:gd name="connsiteX113" fmla="*/ 9775664 w 12192000"/>
              <a:gd name="connsiteY113" fmla="*/ 1613528 h 6858000"/>
              <a:gd name="connsiteX114" fmla="*/ 9775664 w 12192000"/>
              <a:gd name="connsiteY114" fmla="*/ 1864346 h 6858000"/>
              <a:gd name="connsiteX115" fmla="*/ 9797623 w 12192000"/>
              <a:gd name="connsiteY115" fmla="*/ 1886305 h 6858000"/>
              <a:gd name="connsiteX116" fmla="*/ 10048441 w 12192000"/>
              <a:gd name="connsiteY116" fmla="*/ 1886305 h 6858000"/>
              <a:gd name="connsiteX117" fmla="*/ 11552621 w 12192000"/>
              <a:gd name="connsiteY117" fmla="*/ 382124 h 6858000"/>
              <a:gd name="connsiteX118" fmla="*/ 11552621 w 12192000"/>
              <a:gd name="connsiteY118" fmla="*/ 131306 h 6858000"/>
              <a:gd name="connsiteX119" fmla="*/ 11530662 w 12192000"/>
              <a:gd name="connsiteY119" fmla="*/ 109347 h 6858000"/>
              <a:gd name="connsiteX120" fmla="*/ 11405253 w 12192000"/>
              <a:gd name="connsiteY120" fmla="*/ 57401 h 6858000"/>
              <a:gd name="connsiteX121" fmla="*/ 4 w 12192000"/>
              <a:gd name="connsiteY121" fmla="*/ 2 h 6858000"/>
              <a:gd name="connsiteX122" fmla="*/ 4 w 12192000"/>
              <a:gd name="connsiteY122" fmla="*/ 3090502 h 6858000"/>
              <a:gd name="connsiteX123" fmla="*/ 3090503 w 12192000"/>
              <a:gd name="connsiteY123" fmla="*/ 2 h 6858000"/>
              <a:gd name="connsiteX124" fmla="*/ 3171376 w 12192000"/>
              <a:gd name="connsiteY124" fmla="*/ 2 h 6858000"/>
              <a:gd name="connsiteX125" fmla="*/ 2714176 w 12192000"/>
              <a:gd name="connsiteY125" fmla="*/ 457202 h 6858000"/>
              <a:gd name="connsiteX126" fmla="*/ 3171376 w 12192000"/>
              <a:gd name="connsiteY126" fmla="*/ 914402 h 6858000"/>
              <a:gd name="connsiteX127" fmla="*/ 3628576 w 12192000"/>
              <a:gd name="connsiteY127" fmla="*/ 457202 h 6858000"/>
              <a:gd name="connsiteX128" fmla="*/ 4863069 w 12192000"/>
              <a:gd name="connsiteY128" fmla="*/ 2 h 6858000"/>
              <a:gd name="connsiteX129" fmla="*/ 4405869 w 12192000"/>
              <a:gd name="connsiteY129" fmla="*/ 457202 h 6858000"/>
              <a:gd name="connsiteX130" fmla="*/ 4863069 w 12192000"/>
              <a:gd name="connsiteY130" fmla="*/ 914402 h 6858000"/>
              <a:gd name="connsiteX131" fmla="*/ 5320269 w 12192000"/>
              <a:gd name="connsiteY131" fmla="*/ 457202 h 6858000"/>
              <a:gd name="connsiteX132" fmla="*/ 6554764 w 12192000"/>
              <a:gd name="connsiteY132" fmla="*/ 2 h 6858000"/>
              <a:gd name="connsiteX133" fmla="*/ 6097564 w 12192000"/>
              <a:gd name="connsiteY133" fmla="*/ 457201 h 6858000"/>
              <a:gd name="connsiteX134" fmla="*/ 6554764 w 12192000"/>
              <a:gd name="connsiteY134" fmla="*/ 914401 h 6858000"/>
              <a:gd name="connsiteX135" fmla="*/ 7011964 w 12192000"/>
              <a:gd name="connsiteY135" fmla="*/ 457201 h 6858000"/>
              <a:gd name="connsiteX136" fmla="*/ 8246460 w 12192000"/>
              <a:gd name="connsiteY136" fmla="*/ 1 h 6858000"/>
              <a:gd name="connsiteX137" fmla="*/ 7789260 w 12192000"/>
              <a:gd name="connsiteY137" fmla="*/ 457201 h 6858000"/>
              <a:gd name="connsiteX138" fmla="*/ 8246460 w 12192000"/>
              <a:gd name="connsiteY138" fmla="*/ 914401 h 6858000"/>
              <a:gd name="connsiteX139" fmla="*/ 8703660 w 12192000"/>
              <a:gd name="connsiteY139" fmla="*/ 457201 h 6858000"/>
              <a:gd name="connsiteX140" fmla="*/ 9938152 w 12192000"/>
              <a:gd name="connsiteY140" fmla="*/ 1 h 6858000"/>
              <a:gd name="connsiteX141" fmla="*/ 9480952 w 12192000"/>
              <a:gd name="connsiteY141" fmla="*/ 457201 h 6858000"/>
              <a:gd name="connsiteX142" fmla="*/ 9938152 w 12192000"/>
              <a:gd name="connsiteY142" fmla="*/ 914401 h 6858000"/>
              <a:gd name="connsiteX143" fmla="*/ 10395352 w 12192000"/>
              <a:gd name="connsiteY143" fmla="*/ 457201 h 6858000"/>
              <a:gd name="connsiteX144" fmla="*/ 0 w 12192000"/>
              <a:gd name="connsiteY144" fmla="*/ 0 h 6858000"/>
              <a:gd name="connsiteX145" fmla="*/ 12192000 w 12192000"/>
              <a:gd name="connsiteY145" fmla="*/ 0 h 6858000"/>
              <a:gd name="connsiteX146" fmla="*/ 12192000 w 12192000"/>
              <a:gd name="connsiteY146" fmla="*/ 2431144 h 6858000"/>
              <a:gd name="connsiteX147" fmla="*/ 7765144 w 12192000"/>
              <a:gd name="connsiteY147" fmla="*/ 6858000 h 6858000"/>
              <a:gd name="connsiteX148" fmla="*/ 0 w 12192000"/>
              <a:gd name="connsiteY14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12192000" h="6858000">
                <a:moveTo>
                  <a:pt x="1429139" y="6161467"/>
                </a:moveTo>
                <a:cubicBezTo>
                  <a:pt x="1248779" y="6161467"/>
                  <a:pt x="1102568" y="6307678"/>
                  <a:pt x="1102568" y="6488038"/>
                </a:cubicBezTo>
                <a:cubicBezTo>
                  <a:pt x="1102568" y="6668398"/>
                  <a:pt x="1248779" y="6814609"/>
                  <a:pt x="1429139" y="6814609"/>
                </a:cubicBezTo>
                <a:cubicBezTo>
                  <a:pt x="1609499" y="6814609"/>
                  <a:pt x="1755710" y="6668398"/>
                  <a:pt x="1755710" y="6488038"/>
                </a:cubicBezTo>
                <a:cubicBezTo>
                  <a:pt x="1755710" y="6307678"/>
                  <a:pt x="1609499" y="6161467"/>
                  <a:pt x="1429139" y="6161467"/>
                </a:cubicBezTo>
                <a:close/>
                <a:moveTo>
                  <a:pt x="8162314" y="5649061"/>
                </a:moveTo>
                <a:cubicBezTo>
                  <a:pt x="8116925" y="5649061"/>
                  <a:pt x="8071536" y="5666376"/>
                  <a:pt x="8036905" y="5701007"/>
                </a:cubicBezTo>
                <a:lnTo>
                  <a:pt x="7335995" y="6401917"/>
                </a:lnTo>
                <a:cubicBezTo>
                  <a:pt x="7266734" y="6471179"/>
                  <a:pt x="7266734" y="6583474"/>
                  <a:pt x="7335995" y="6652735"/>
                </a:cubicBezTo>
                <a:lnTo>
                  <a:pt x="7357954" y="6674694"/>
                </a:lnTo>
                <a:cubicBezTo>
                  <a:pt x="7427215" y="6743956"/>
                  <a:pt x="7539511" y="6743956"/>
                  <a:pt x="7608772" y="6674694"/>
                </a:cubicBezTo>
                <a:lnTo>
                  <a:pt x="8309682" y="5973784"/>
                </a:lnTo>
                <a:cubicBezTo>
                  <a:pt x="8378944" y="5904522"/>
                  <a:pt x="8378944" y="5792227"/>
                  <a:pt x="8309682" y="5722966"/>
                </a:cubicBezTo>
                <a:lnTo>
                  <a:pt x="8287723" y="5701007"/>
                </a:lnTo>
                <a:cubicBezTo>
                  <a:pt x="8253093" y="5666376"/>
                  <a:pt x="8207704" y="5649061"/>
                  <a:pt x="8162314" y="5649061"/>
                </a:cubicBezTo>
                <a:close/>
                <a:moveTo>
                  <a:pt x="899628" y="5446562"/>
                </a:moveTo>
                <a:cubicBezTo>
                  <a:pt x="719268" y="5446562"/>
                  <a:pt x="573057" y="5592773"/>
                  <a:pt x="573057" y="5773133"/>
                </a:cubicBezTo>
                <a:cubicBezTo>
                  <a:pt x="573057" y="5953493"/>
                  <a:pt x="719268" y="6099704"/>
                  <a:pt x="899628" y="6099704"/>
                </a:cubicBezTo>
                <a:cubicBezTo>
                  <a:pt x="1079988" y="6099704"/>
                  <a:pt x="1226199" y="5953493"/>
                  <a:pt x="1226199" y="5773133"/>
                </a:cubicBezTo>
                <a:cubicBezTo>
                  <a:pt x="1226199" y="5592773"/>
                  <a:pt x="1079988" y="5446562"/>
                  <a:pt x="899628" y="5446562"/>
                </a:cubicBezTo>
                <a:close/>
                <a:moveTo>
                  <a:pt x="370117" y="4731656"/>
                </a:moveTo>
                <a:cubicBezTo>
                  <a:pt x="189758" y="4731656"/>
                  <a:pt x="43547" y="4877867"/>
                  <a:pt x="43547" y="5058227"/>
                </a:cubicBezTo>
                <a:cubicBezTo>
                  <a:pt x="43547" y="5238587"/>
                  <a:pt x="189758" y="5384798"/>
                  <a:pt x="370117" y="5384798"/>
                </a:cubicBezTo>
                <a:cubicBezTo>
                  <a:pt x="550478" y="5384798"/>
                  <a:pt x="696689" y="5238587"/>
                  <a:pt x="696689" y="5058227"/>
                </a:cubicBezTo>
                <a:cubicBezTo>
                  <a:pt x="696689" y="4877867"/>
                  <a:pt x="550478" y="4731656"/>
                  <a:pt x="370117" y="4731656"/>
                </a:cubicBezTo>
                <a:close/>
                <a:moveTo>
                  <a:pt x="8139025" y="4569563"/>
                </a:moveTo>
                <a:cubicBezTo>
                  <a:pt x="8093636" y="4569563"/>
                  <a:pt x="8048247" y="4586878"/>
                  <a:pt x="8013616" y="4621508"/>
                </a:cubicBezTo>
                <a:lnTo>
                  <a:pt x="6236292" y="6398833"/>
                </a:lnTo>
                <a:cubicBezTo>
                  <a:pt x="6167031" y="6468094"/>
                  <a:pt x="6167031" y="6580390"/>
                  <a:pt x="6236292" y="6649651"/>
                </a:cubicBezTo>
                <a:lnTo>
                  <a:pt x="6258251" y="6671610"/>
                </a:lnTo>
                <a:cubicBezTo>
                  <a:pt x="6327512" y="6740871"/>
                  <a:pt x="6439808" y="6740871"/>
                  <a:pt x="6509069" y="6671610"/>
                </a:cubicBezTo>
                <a:lnTo>
                  <a:pt x="8286393" y="4894285"/>
                </a:lnTo>
                <a:cubicBezTo>
                  <a:pt x="8355654" y="4825024"/>
                  <a:pt x="8355654" y="4712728"/>
                  <a:pt x="8286393" y="4643467"/>
                </a:cubicBezTo>
                <a:lnTo>
                  <a:pt x="8264434" y="4621508"/>
                </a:lnTo>
                <a:cubicBezTo>
                  <a:pt x="8229804" y="4586878"/>
                  <a:pt x="8184415" y="4569563"/>
                  <a:pt x="8139025" y="4569563"/>
                </a:cubicBezTo>
                <a:close/>
                <a:moveTo>
                  <a:pt x="7618325" y="3939483"/>
                </a:moveTo>
                <a:cubicBezTo>
                  <a:pt x="7572936" y="3939483"/>
                  <a:pt x="7527547" y="3956798"/>
                  <a:pt x="7492916" y="3991429"/>
                </a:cubicBezTo>
                <a:lnTo>
                  <a:pt x="5016683" y="6467663"/>
                </a:lnTo>
                <a:cubicBezTo>
                  <a:pt x="4947422" y="6536924"/>
                  <a:pt x="4947422" y="6649220"/>
                  <a:pt x="5016683" y="6718481"/>
                </a:cubicBezTo>
                <a:lnTo>
                  <a:pt x="5038642" y="6740440"/>
                </a:lnTo>
                <a:cubicBezTo>
                  <a:pt x="5107903" y="6809701"/>
                  <a:pt x="5220199" y="6809701"/>
                  <a:pt x="5289460" y="6740440"/>
                </a:cubicBezTo>
                <a:lnTo>
                  <a:pt x="7765693" y="4264206"/>
                </a:lnTo>
                <a:cubicBezTo>
                  <a:pt x="7834954" y="4194945"/>
                  <a:pt x="7834954" y="4082649"/>
                  <a:pt x="7765693" y="4013388"/>
                </a:cubicBezTo>
                <a:lnTo>
                  <a:pt x="7743734" y="3991429"/>
                </a:lnTo>
                <a:cubicBezTo>
                  <a:pt x="7709103" y="3956798"/>
                  <a:pt x="7663714" y="3939483"/>
                  <a:pt x="7618325" y="3939483"/>
                </a:cubicBezTo>
                <a:close/>
                <a:moveTo>
                  <a:pt x="10089754" y="3704146"/>
                </a:moveTo>
                <a:cubicBezTo>
                  <a:pt x="10044365" y="3704146"/>
                  <a:pt x="9998976" y="3721461"/>
                  <a:pt x="9964345" y="3756091"/>
                </a:cubicBezTo>
                <a:lnTo>
                  <a:pt x="8460165" y="5260272"/>
                </a:lnTo>
                <a:cubicBezTo>
                  <a:pt x="8390903" y="5329533"/>
                  <a:pt x="8390903" y="5441829"/>
                  <a:pt x="8460165" y="5511090"/>
                </a:cubicBezTo>
                <a:lnTo>
                  <a:pt x="8482124" y="5533049"/>
                </a:lnTo>
                <a:cubicBezTo>
                  <a:pt x="8551385" y="5602310"/>
                  <a:pt x="8663680" y="5602310"/>
                  <a:pt x="8732942" y="5533049"/>
                </a:cubicBezTo>
                <a:lnTo>
                  <a:pt x="10237122" y="4028868"/>
                </a:lnTo>
                <a:cubicBezTo>
                  <a:pt x="10306384" y="3959607"/>
                  <a:pt x="10306384" y="3847312"/>
                  <a:pt x="10237122" y="3778051"/>
                </a:cubicBezTo>
                <a:lnTo>
                  <a:pt x="10215163" y="3756091"/>
                </a:lnTo>
                <a:cubicBezTo>
                  <a:pt x="10180532" y="3721461"/>
                  <a:pt x="10135144" y="3704146"/>
                  <a:pt x="10089754" y="3704146"/>
                </a:cubicBezTo>
                <a:close/>
                <a:moveTo>
                  <a:pt x="10041065" y="2624647"/>
                </a:moveTo>
                <a:cubicBezTo>
                  <a:pt x="9995676" y="2624647"/>
                  <a:pt x="9950287" y="2641962"/>
                  <a:pt x="9915656" y="2676593"/>
                </a:cubicBezTo>
                <a:lnTo>
                  <a:pt x="8411476" y="4180773"/>
                </a:lnTo>
                <a:cubicBezTo>
                  <a:pt x="8342215" y="4250034"/>
                  <a:pt x="8342215" y="4362330"/>
                  <a:pt x="8411476" y="4431591"/>
                </a:cubicBezTo>
                <a:lnTo>
                  <a:pt x="8433435" y="4453550"/>
                </a:lnTo>
                <a:cubicBezTo>
                  <a:pt x="8502696" y="4522811"/>
                  <a:pt x="8614991" y="4522811"/>
                  <a:pt x="8684253" y="4453550"/>
                </a:cubicBezTo>
                <a:lnTo>
                  <a:pt x="10188433" y="2949370"/>
                </a:lnTo>
                <a:cubicBezTo>
                  <a:pt x="10257695" y="2880109"/>
                  <a:pt x="10257695" y="2767813"/>
                  <a:pt x="10188433" y="2698552"/>
                </a:cubicBezTo>
                <a:lnTo>
                  <a:pt x="10166474" y="2676593"/>
                </a:lnTo>
                <a:cubicBezTo>
                  <a:pt x="10131844" y="2641962"/>
                  <a:pt x="10086454" y="2624647"/>
                  <a:pt x="10041065" y="2624647"/>
                </a:cubicBezTo>
                <a:close/>
                <a:moveTo>
                  <a:pt x="9520364" y="1994569"/>
                </a:moveTo>
                <a:cubicBezTo>
                  <a:pt x="9474975" y="1994569"/>
                  <a:pt x="9429586" y="2011885"/>
                  <a:pt x="9394955" y="2046515"/>
                </a:cubicBezTo>
                <a:lnTo>
                  <a:pt x="7890775" y="3550695"/>
                </a:lnTo>
                <a:cubicBezTo>
                  <a:pt x="7821514" y="3619956"/>
                  <a:pt x="7821514" y="3732252"/>
                  <a:pt x="7890775" y="3801513"/>
                </a:cubicBezTo>
                <a:lnTo>
                  <a:pt x="7912734" y="3823472"/>
                </a:lnTo>
                <a:cubicBezTo>
                  <a:pt x="7981995" y="3892733"/>
                  <a:pt x="8094291" y="3892733"/>
                  <a:pt x="8163552" y="3823472"/>
                </a:cubicBezTo>
                <a:lnTo>
                  <a:pt x="9667732" y="2319292"/>
                </a:lnTo>
                <a:cubicBezTo>
                  <a:pt x="9736994" y="2250031"/>
                  <a:pt x="9736994" y="2137735"/>
                  <a:pt x="9667732" y="2068475"/>
                </a:cubicBezTo>
                <a:lnTo>
                  <a:pt x="9645773" y="2046515"/>
                </a:lnTo>
                <a:cubicBezTo>
                  <a:pt x="9611142" y="2011885"/>
                  <a:pt x="9565753" y="1994569"/>
                  <a:pt x="9520364" y="1994569"/>
                </a:cubicBezTo>
                <a:close/>
                <a:moveTo>
                  <a:pt x="11974643" y="1766977"/>
                </a:moveTo>
                <a:cubicBezTo>
                  <a:pt x="11929254" y="1766977"/>
                  <a:pt x="11883865" y="1784292"/>
                  <a:pt x="11849234" y="1818923"/>
                </a:cubicBezTo>
                <a:lnTo>
                  <a:pt x="10345054" y="3323103"/>
                </a:lnTo>
                <a:cubicBezTo>
                  <a:pt x="10275792" y="3392364"/>
                  <a:pt x="10275792" y="3504659"/>
                  <a:pt x="10345054" y="3573920"/>
                </a:cubicBezTo>
                <a:lnTo>
                  <a:pt x="10367013" y="3595879"/>
                </a:lnTo>
                <a:cubicBezTo>
                  <a:pt x="10436274" y="3665140"/>
                  <a:pt x="10548569" y="3665140"/>
                  <a:pt x="10617831" y="3595879"/>
                </a:cubicBezTo>
                <a:lnTo>
                  <a:pt x="12122011" y="2091700"/>
                </a:lnTo>
                <a:cubicBezTo>
                  <a:pt x="12191273" y="2022439"/>
                  <a:pt x="12191273" y="1910143"/>
                  <a:pt x="12122011" y="1840882"/>
                </a:cubicBezTo>
                <a:lnTo>
                  <a:pt x="12100052" y="1818923"/>
                </a:lnTo>
                <a:cubicBezTo>
                  <a:pt x="12065422" y="1784292"/>
                  <a:pt x="12020032" y="1766977"/>
                  <a:pt x="11974643" y="1766977"/>
                </a:cubicBezTo>
                <a:close/>
                <a:moveTo>
                  <a:pt x="4017223" y="734456"/>
                </a:moveTo>
                <a:lnTo>
                  <a:pt x="3560024" y="1191656"/>
                </a:lnTo>
                <a:lnTo>
                  <a:pt x="4017223" y="1648856"/>
                </a:lnTo>
                <a:lnTo>
                  <a:pt x="4474421" y="1191656"/>
                </a:lnTo>
                <a:close/>
                <a:moveTo>
                  <a:pt x="5708917" y="734456"/>
                </a:moveTo>
                <a:lnTo>
                  <a:pt x="5251717" y="1191656"/>
                </a:lnTo>
                <a:lnTo>
                  <a:pt x="5708917" y="1648856"/>
                </a:lnTo>
                <a:lnTo>
                  <a:pt x="6166116" y="1191656"/>
                </a:lnTo>
                <a:close/>
                <a:moveTo>
                  <a:pt x="7400612" y="734455"/>
                </a:moveTo>
                <a:lnTo>
                  <a:pt x="6943412" y="1191656"/>
                </a:lnTo>
                <a:lnTo>
                  <a:pt x="7400612" y="1648856"/>
                </a:lnTo>
                <a:lnTo>
                  <a:pt x="7857812" y="1191656"/>
                </a:lnTo>
                <a:close/>
                <a:moveTo>
                  <a:pt x="9092308" y="734455"/>
                </a:moveTo>
                <a:lnTo>
                  <a:pt x="8635108" y="1191655"/>
                </a:lnTo>
                <a:lnTo>
                  <a:pt x="9092308" y="1648855"/>
                </a:lnTo>
                <a:lnTo>
                  <a:pt x="9549508" y="1191655"/>
                </a:lnTo>
                <a:close/>
                <a:moveTo>
                  <a:pt x="11938654" y="725578"/>
                </a:moveTo>
                <a:cubicBezTo>
                  <a:pt x="11893265" y="725578"/>
                  <a:pt x="11847876" y="742893"/>
                  <a:pt x="11813245" y="777523"/>
                </a:cubicBezTo>
                <a:lnTo>
                  <a:pt x="10309065" y="2281704"/>
                </a:lnTo>
                <a:cubicBezTo>
                  <a:pt x="10239803" y="2350965"/>
                  <a:pt x="10239803" y="2463261"/>
                  <a:pt x="10309065" y="2532522"/>
                </a:cubicBezTo>
                <a:lnTo>
                  <a:pt x="10331024" y="2554481"/>
                </a:lnTo>
                <a:cubicBezTo>
                  <a:pt x="10400285" y="2623742"/>
                  <a:pt x="10512580" y="2623742"/>
                  <a:pt x="10581842" y="2554481"/>
                </a:cubicBezTo>
                <a:lnTo>
                  <a:pt x="12086022" y="1050300"/>
                </a:lnTo>
                <a:cubicBezTo>
                  <a:pt x="12155284" y="981039"/>
                  <a:pt x="12155284" y="868744"/>
                  <a:pt x="12086022" y="799483"/>
                </a:cubicBezTo>
                <a:lnTo>
                  <a:pt x="12064063" y="777523"/>
                </a:lnTo>
                <a:cubicBezTo>
                  <a:pt x="12029432" y="742893"/>
                  <a:pt x="11984043" y="725578"/>
                  <a:pt x="11938654" y="725578"/>
                </a:cubicBezTo>
                <a:close/>
                <a:moveTo>
                  <a:pt x="11405253" y="57401"/>
                </a:moveTo>
                <a:cubicBezTo>
                  <a:pt x="11359864" y="57401"/>
                  <a:pt x="11314475" y="74716"/>
                  <a:pt x="11279844" y="109347"/>
                </a:cubicBezTo>
                <a:lnTo>
                  <a:pt x="9775664" y="1613528"/>
                </a:lnTo>
                <a:cubicBezTo>
                  <a:pt x="9706402" y="1682789"/>
                  <a:pt x="9706402" y="1795085"/>
                  <a:pt x="9775664" y="1864346"/>
                </a:cubicBezTo>
                <a:lnTo>
                  <a:pt x="9797623" y="1886305"/>
                </a:lnTo>
                <a:cubicBezTo>
                  <a:pt x="9866884" y="1955566"/>
                  <a:pt x="9979179" y="1955566"/>
                  <a:pt x="10048441" y="1886305"/>
                </a:cubicBezTo>
                <a:lnTo>
                  <a:pt x="11552621" y="382124"/>
                </a:lnTo>
                <a:cubicBezTo>
                  <a:pt x="11621883" y="312862"/>
                  <a:pt x="11621883" y="200567"/>
                  <a:pt x="11552621" y="131306"/>
                </a:cubicBezTo>
                <a:lnTo>
                  <a:pt x="11530662" y="109347"/>
                </a:lnTo>
                <a:cubicBezTo>
                  <a:pt x="11496032" y="74716"/>
                  <a:pt x="11450643" y="57401"/>
                  <a:pt x="11405253" y="57401"/>
                </a:cubicBezTo>
                <a:close/>
                <a:moveTo>
                  <a:pt x="4" y="2"/>
                </a:moveTo>
                <a:lnTo>
                  <a:pt x="4" y="3090502"/>
                </a:lnTo>
                <a:lnTo>
                  <a:pt x="3090503" y="2"/>
                </a:lnTo>
                <a:close/>
                <a:moveTo>
                  <a:pt x="3171376" y="2"/>
                </a:moveTo>
                <a:lnTo>
                  <a:pt x="2714176" y="457202"/>
                </a:lnTo>
                <a:lnTo>
                  <a:pt x="3171376" y="914402"/>
                </a:lnTo>
                <a:lnTo>
                  <a:pt x="3628576" y="457202"/>
                </a:lnTo>
                <a:close/>
                <a:moveTo>
                  <a:pt x="4863069" y="2"/>
                </a:moveTo>
                <a:lnTo>
                  <a:pt x="4405869" y="457202"/>
                </a:lnTo>
                <a:lnTo>
                  <a:pt x="4863069" y="914402"/>
                </a:lnTo>
                <a:lnTo>
                  <a:pt x="5320269" y="457202"/>
                </a:lnTo>
                <a:close/>
                <a:moveTo>
                  <a:pt x="6554764" y="2"/>
                </a:moveTo>
                <a:lnTo>
                  <a:pt x="6097564" y="457201"/>
                </a:lnTo>
                <a:lnTo>
                  <a:pt x="6554764" y="914401"/>
                </a:lnTo>
                <a:lnTo>
                  <a:pt x="7011964" y="457201"/>
                </a:lnTo>
                <a:close/>
                <a:moveTo>
                  <a:pt x="8246460" y="1"/>
                </a:moveTo>
                <a:lnTo>
                  <a:pt x="7789260" y="457201"/>
                </a:lnTo>
                <a:lnTo>
                  <a:pt x="8246460" y="914401"/>
                </a:lnTo>
                <a:lnTo>
                  <a:pt x="8703660" y="457201"/>
                </a:lnTo>
                <a:close/>
                <a:moveTo>
                  <a:pt x="9938152" y="1"/>
                </a:moveTo>
                <a:lnTo>
                  <a:pt x="9480952" y="457201"/>
                </a:lnTo>
                <a:lnTo>
                  <a:pt x="9938152" y="914401"/>
                </a:lnTo>
                <a:lnTo>
                  <a:pt x="10395352" y="457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431144"/>
                </a:lnTo>
                <a:lnTo>
                  <a:pt x="776514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74ABF8-EAD4-4410-8CCD-477D276B43F4}"/>
              </a:ext>
            </a:extLst>
          </p:cNvPr>
          <p:cNvSpPr/>
          <p:nvPr userDrawn="1"/>
        </p:nvSpPr>
        <p:spPr>
          <a:xfrm>
            <a:off x="-3410" y="2450947"/>
            <a:ext cx="6607408" cy="2237168"/>
          </a:xfrm>
          <a:custGeom>
            <a:avLst/>
            <a:gdLst>
              <a:gd name="connsiteX0" fmla="*/ 643965 w 6607408"/>
              <a:gd name="connsiteY0" fmla="*/ 0 h 2237168"/>
              <a:gd name="connsiteX1" fmla="*/ 6607408 w 6607408"/>
              <a:gd name="connsiteY1" fmla="*/ 0 h 2237168"/>
              <a:gd name="connsiteX2" fmla="*/ 6607408 w 6607408"/>
              <a:gd name="connsiteY2" fmla="*/ 2237167 h 2237168"/>
              <a:gd name="connsiteX3" fmla="*/ 643965 w 6607408"/>
              <a:gd name="connsiteY3" fmla="*/ 2237167 h 2237168"/>
              <a:gd name="connsiteX4" fmla="*/ 643965 w 6607408"/>
              <a:gd name="connsiteY4" fmla="*/ 2237168 h 2237168"/>
              <a:gd name="connsiteX5" fmla="*/ 7730 w 6607408"/>
              <a:gd name="connsiteY5" fmla="*/ 2237168 h 2237168"/>
              <a:gd name="connsiteX6" fmla="*/ 7730 w 6607408"/>
              <a:gd name="connsiteY6" fmla="*/ 655216 h 2237168"/>
              <a:gd name="connsiteX7" fmla="*/ 0 w 6607408"/>
              <a:gd name="connsiteY7" fmla="*/ 647509 h 2237168"/>
              <a:gd name="connsiteX8" fmla="*/ 7730 w 6607408"/>
              <a:gd name="connsiteY8" fmla="*/ 639757 h 2237168"/>
              <a:gd name="connsiteX9" fmla="*/ 7730 w 6607408"/>
              <a:gd name="connsiteY9" fmla="*/ 635076 h 2237168"/>
              <a:gd name="connsiteX10" fmla="*/ 12397 w 6607408"/>
              <a:gd name="connsiteY10" fmla="*/ 635076 h 2237168"/>
              <a:gd name="connsiteX11" fmla="*/ 643965 w 6607408"/>
              <a:gd name="connsiteY11" fmla="*/ 1687 h 2237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7408" h="2237168">
                <a:moveTo>
                  <a:pt x="643965" y="0"/>
                </a:moveTo>
                <a:lnTo>
                  <a:pt x="6607408" y="0"/>
                </a:lnTo>
                <a:lnTo>
                  <a:pt x="6607408" y="2237167"/>
                </a:lnTo>
                <a:lnTo>
                  <a:pt x="643965" y="2237167"/>
                </a:lnTo>
                <a:lnTo>
                  <a:pt x="643965" y="2237168"/>
                </a:lnTo>
                <a:lnTo>
                  <a:pt x="7730" y="2237168"/>
                </a:lnTo>
                <a:lnTo>
                  <a:pt x="7730" y="655216"/>
                </a:lnTo>
                <a:lnTo>
                  <a:pt x="0" y="647509"/>
                </a:lnTo>
                <a:lnTo>
                  <a:pt x="7730" y="639757"/>
                </a:lnTo>
                <a:lnTo>
                  <a:pt x="7730" y="635076"/>
                </a:lnTo>
                <a:lnTo>
                  <a:pt x="12397" y="635076"/>
                </a:lnTo>
                <a:lnTo>
                  <a:pt x="643965" y="1687"/>
                </a:lnTo>
                <a:close/>
              </a:path>
            </a:pathLst>
          </a:cu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 err="1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339912" y="2601085"/>
            <a:ext cx="6859208" cy="707886"/>
          </a:xfrm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1339912" y="4237381"/>
            <a:ext cx="6859208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EDIT SUBTITLE</a:t>
            </a:r>
            <a:endParaRPr lang="en-US" dirty="0"/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339397" y="3407037"/>
            <a:ext cx="6841373" cy="430887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800" i="0" dirty="0" smtClean="0">
                <a:solidFill>
                  <a:schemeClr val="bg1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476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55FD07-32D4-4A25-A7A2-13926211B76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187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F7B841-B016-4EA6-B35A-56DF9234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4"/>
            <a:ext cx="10820400" cy="584775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E848E19-DAF4-49BB-B133-74C5F04FFF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820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108204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967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 - Lighthouse, Mountains, Full Logo,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34453" y="3235764"/>
            <a:ext cx="5865181" cy="713497"/>
          </a:xfrm>
        </p:spPr>
        <p:txBody>
          <a:bodyPr anchor="ctr">
            <a:normAutofit/>
          </a:bodyPr>
          <a:lstStyle>
            <a:lvl1pPr algn="r">
              <a:defRPr sz="28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10492" y="2928374"/>
            <a:ext cx="4489142" cy="61477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Master subtitle style (dat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06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 - Title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228727"/>
            <a:ext cx="10515600" cy="5019673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83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ottery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832"/>
            <a:ext cx="12192000" cy="133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250" y="229933"/>
            <a:ext cx="7372350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238250" y="577599"/>
            <a:ext cx="7372350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532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harma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4475" y="201358"/>
            <a:ext cx="7067550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514475" y="549024"/>
            <a:ext cx="7067550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423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Mtns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5230"/>
            <a:ext cx="6029326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057275" y="563461"/>
            <a:ext cx="6029325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840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3153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Seaport Industrial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581"/>
            <a:ext cx="12192000" cy="133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323" y="205230"/>
            <a:ext cx="6195776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199323" y="563461"/>
            <a:ext cx="6195775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080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Coast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5230"/>
            <a:ext cx="6267450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057275" y="563461"/>
            <a:ext cx="6267450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403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Aviation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4" y="205230"/>
            <a:ext cx="7323245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057274" y="563461"/>
            <a:ext cx="7323245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542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Manufacturing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1867" y="205230"/>
            <a:ext cx="6449950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221867" y="563461"/>
            <a:ext cx="6449950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876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Manufacturing 2 Image Title/Subtitle Area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3346" y="159510"/>
            <a:ext cx="7181469" cy="557215"/>
          </a:xfrm>
        </p:spPr>
        <p:txBody>
          <a:bodyPr>
            <a:normAutofit/>
          </a:bodyPr>
          <a:lstStyle>
            <a:lvl1pPr algn="l">
              <a:defRPr sz="32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493045"/>
            <a:ext cx="10515600" cy="475535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3"/>
          </p:nvPr>
        </p:nvSpPr>
        <p:spPr>
          <a:xfrm>
            <a:off x="1633346" y="517741"/>
            <a:ext cx="7181469" cy="571353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807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 - Title, Long Text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228727"/>
            <a:ext cx="10515600" cy="5019673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Text slide – long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755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itle, Small Char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1228727"/>
            <a:ext cx="10515600" cy="4174280"/>
          </a:xfrm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Small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566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itle, Large Chart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1228726"/>
            <a:ext cx="10515600" cy="5172073"/>
          </a:xfrm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Large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192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itle, Small SmartAr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7"/>
          <p:cNvSpPr>
            <a:spLocks noGrp="1"/>
          </p:cNvSpPr>
          <p:nvPr>
            <p:ph type="dgm" sz="quarter" idx="15" hasCustomPrompt="1"/>
          </p:nvPr>
        </p:nvSpPr>
        <p:spPr>
          <a:xfrm>
            <a:off x="838200" y="1225550"/>
            <a:ext cx="10515600" cy="4189413"/>
          </a:xfrm>
        </p:spPr>
        <p:txBody>
          <a:bodyPr/>
          <a:lstStyle>
            <a:lvl1pPr>
              <a:defRPr>
                <a:solidFill>
                  <a:srgbClr val="728591"/>
                </a:solidFill>
              </a:defRPr>
            </a:lvl1pPr>
          </a:lstStyle>
          <a:p>
            <a:r>
              <a:rPr lang="en-US" dirty="0" smtClean="0"/>
              <a:t>Small SmartArt Graphic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759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- Title, Large SmartArt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Art Placeholder 6"/>
          <p:cNvSpPr>
            <a:spLocks noGrp="1"/>
          </p:cNvSpPr>
          <p:nvPr>
            <p:ph type="dgm" sz="quarter" idx="15" hasCustomPrompt="1"/>
          </p:nvPr>
        </p:nvSpPr>
        <p:spPr>
          <a:xfrm>
            <a:off x="838200" y="1228725"/>
            <a:ext cx="10515600" cy="5172075"/>
          </a:xfrm>
        </p:spPr>
        <p:txBody>
          <a:bodyPr/>
          <a:lstStyle>
            <a:lvl1pPr>
              <a:defRPr>
                <a:solidFill>
                  <a:srgbClr val="728591"/>
                </a:solidFill>
              </a:defRPr>
            </a:lvl1pPr>
          </a:lstStyle>
          <a:p>
            <a:r>
              <a:rPr lang="en-US" dirty="0" smtClean="0"/>
              <a:t>Large SmartArt Graphic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801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8892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- Small Image, Title, Bar,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1228727"/>
            <a:ext cx="10515600" cy="417428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Small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015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Slide - Small Image, Text, Title, Bar,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186523" y="1775339"/>
            <a:ext cx="5157834" cy="31302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Small Imag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39666" y="1281613"/>
            <a:ext cx="6395158" cy="420167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741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Slide 2 - Small Image, Text, Title, Bar,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776990" y="1896631"/>
            <a:ext cx="5157834" cy="31302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Small Imag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77553" y="1360900"/>
            <a:ext cx="6395158" cy="420167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small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566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- Medium Image, Title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1228726"/>
            <a:ext cx="10515600" cy="519112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Medium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345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Slide - Medium Image, Text, Title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208718" y="1290869"/>
            <a:ext cx="4975842" cy="512768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Medium Imag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70990" y="1290987"/>
            <a:ext cx="6688121" cy="512756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medium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53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Slide 2 - Medium Image, Text, Title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035646" y="1311318"/>
            <a:ext cx="4975842" cy="512768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Medium Imag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77553" y="1311318"/>
            <a:ext cx="6688121" cy="512756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7785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 smtClean="0"/>
              <a:t>Text slide – medium amount of copy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52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- Large Image,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04775" y="6650830"/>
            <a:ext cx="2743200" cy="1381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1228726"/>
            <a:ext cx="10515600" cy="556021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r>
              <a:rPr lang="en-US" dirty="0" smtClean="0"/>
              <a:t>Large Imag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98426"/>
            <a:ext cx="10515600" cy="1061245"/>
          </a:xfrm>
        </p:spPr>
        <p:txBody>
          <a:bodyPr>
            <a:normAutofit/>
          </a:bodyPr>
          <a:lstStyle>
            <a:lvl1pPr algn="ctr">
              <a:defRPr sz="3600" i="1">
                <a:solidFill>
                  <a:srgbClr val="288DC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779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 - Logo, Bar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09998"/>
            <a:ext cx="12192000" cy="894952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0500" y="609998"/>
            <a:ext cx="11811000" cy="894952"/>
          </a:xfrm>
        </p:spPr>
        <p:txBody>
          <a:bodyPr anchor="ctr">
            <a:normAutofit/>
          </a:bodyPr>
          <a:lstStyle>
            <a:lvl1pPr algn="l">
              <a:defRPr sz="2800" i="1" baseline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Section Divider No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600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 - Logo, Bar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590652"/>
            <a:ext cx="12192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412" y="5687777"/>
            <a:ext cx="1006412" cy="69838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775" y="6650830"/>
            <a:ext cx="2743200" cy="138112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09998"/>
            <a:ext cx="12192000" cy="894952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90500" y="609998"/>
            <a:ext cx="11811000" cy="894952"/>
          </a:xfrm>
        </p:spPr>
        <p:txBody>
          <a:bodyPr anchor="ctr">
            <a:normAutofit/>
          </a:bodyPr>
          <a:lstStyle>
            <a:lvl1pPr algn="l">
              <a:defRPr sz="2800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 smtClean="0"/>
              <a:t>Section Divider Image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1574006"/>
            <a:ext cx="12192000" cy="382900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>
                <a:solidFill>
                  <a:srgbClr val="77859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199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175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09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0440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420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779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876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111F87-23FB-44EF-BD01-8E7C6006340E}" type="datetimeFigureOut">
              <a:rPr lang="en-US" smtClean="0"/>
              <a:t>10/2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8177E5-4B01-4085-A726-EADF33B201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91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5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282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g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5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g"/><Relationship Id="rId3" Type="http://schemas.openxmlformats.org/officeDocument/2006/relationships/image" Target="../media/image68.jpeg"/><Relationship Id="rId7" Type="http://schemas.openxmlformats.org/officeDocument/2006/relationships/image" Target="../media/image72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Relationship Id="rId9" Type="http://schemas.openxmlformats.org/officeDocument/2006/relationships/image" Target="../media/image74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6.xml"/><Relationship Id="rId4" Type="http://schemas.openxmlformats.org/officeDocument/2006/relationships/hyperlink" Target="http://nencpathways.org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nencpathways.org/2018/09/21/updated-local-implementation-applications/" TargetMode="External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hyperlink" Target="http://nencpathways.org/2018/09/21/updated-local-implementation-applications/" TargetMode="Externa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91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hyperlink" Target="https://www.youtube.com/watch?v=G5zz6XS699c&amp;feature=youtu.be" TargetMode="Externa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emf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4063" y="3009610"/>
            <a:ext cx="4808134" cy="1655762"/>
          </a:xfrm>
        </p:spPr>
        <p:txBody>
          <a:bodyPr>
            <a:normAutofit/>
          </a:bodyPr>
          <a:lstStyle/>
          <a:p>
            <a:r>
              <a:rPr lang="en-US" sz="3200" dirty="0" smtClean="0"/>
              <a:t>Annual Leadership Meeting</a:t>
            </a:r>
          </a:p>
          <a:p>
            <a:r>
              <a:rPr lang="en-US" sz="3200" dirty="0" smtClean="0"/>
              <a:t>October 26, 2018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53" y="695459"/>
            <a:ext cx="6058310" cy="5447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42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743719" y="4063989"/>
            <a:ext cx="4648443" cy="279401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806" y="1574666"/>
            <a:ext cx="5200983" cy="31261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5605" y="1291330"/>
            <a:ext cx="4584589" cy="275563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21806" y="5210008"/>
            <a:ext cx="418276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Find all of our metrics on our website:</a:t>
            </a:r>
          </a:p>
          <a:p>
            <a:pPr algn="ctr"/>
            <a:endParaRPr lang="en-US" dirty="0"/>
          </a:p>
          <a:p>
            <a:pPr algn="ctr"/>
            <a:r>
              <a:rPr lang="en-US" sz="3200" dirty="0" smtClean="0"/>
              <a:t>www.nencpathways.org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586072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5400" b="1" dirty="0" smtClean="0"/>
              <a:t>Keynote</a:t>
            </a:r>
            <a:endParaRPr lang="en-US" sz="5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3600" dirty="0" smtClean="0"/>
              <a:t>“Grow our world from the ground up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3200" b="1" dirty="0" smtClean="0"/>
              <a:t>Kim Toler </a:t>
            </a:r>
          </a:p>
          <a:p>
            <a:pPr marL="0" indent="0">
              <a:buNone/>
            </a:pPr>
            <a:r>
              <a:rPr lang="en-US" dirty="0" smtClean="0"/>
              <a:t>Training Manager - </a:t>
            </a:r>
            <a:r>
              <a:rPr lang="en-US" dirty="0" err="1" smtClean="0"/>
              <a:t>Nutrien</a:t>
            </a:r>
            <a:r>
              <a:rPr lang="en-US" dirty="0" smtClean="0"/>
              <a:t>, </a:t>
            </a:r>
            <a:r>
              <a:rPr lang="en-US" dirty="0" err="1" smtClean="0"/>
              <a:t>NCWorks</a:t>
            </a:r>
            <a:r>
              <a:rPr lang="en-US" dirty="0" smtClean="0"/>
              <a:t> Commissioner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3200" b="1" dirty="0" smtClean="0"/>
              <a:t>Danielle Street</a:t>
            </a:r>
          </a:p>
          <a:p>
            <a:pPr marL="0" indent="0">
              <a:buNone/>
            </a:pPr>
            <a:r>
              <a:rPr lang="en-US" dirty="0" smtClean="0"/>
              <a:t> Employee Development Specialist - </a:t>
            </a:r>
            <a:r>
              <a:rPr lang="en-US" dirty="0" err="1" smtClean="0"/>
              <a:t>Nutrie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9594" y="458913"/>
            <a:ext cx="3719961" cy="24635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0349" y="4701228"/>
            <a:ext cx="3757545" cy="1475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436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 PERSP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5759" y="1812747"/>
            <a:ext cx="6000482" cy="1716065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4000" dirty="0" smtClean="0"/>
              <a:t>Christina </a:t>
            </a:r>
            <a:r>
              <a:rPr lang="en-US" sz="4400" dirty="0" smtClean="0"/>
              <a:t>Harris</a:t>
            </a:r>
            <a:endParaRPr lang="en-US" sz="4000" dirty="0" smtClean="0"/>
          </a:p>
          <a:p>
            <a:pPr marL="0" indent="0" algn="ctr">
              <a:buNone/>
            </a:pPr>
            <a:r>
              <a:rPr lang="en-US" dirty="0" smtClean="0"/>
              <a:t>Northeast Regional CTE Coordinator</a:t>
            </a:r>
          </a:p>
          <a:p>
            <a:pPr marL="0" indent="0" algn="ctr">
              <a:buNone/>
            </a:pPr>
            <a:r>
              <a:rPr lang="en-US" dirty="0" smtClean="0"/>
              <a:t>NC Department of Public Instruc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5782" y="3876541"/>
            <a:ext cx="4120435" cy="2441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85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39397" y="2033878"/>
            <a:ext cx="6859723" cy="1323439"/>
          </a:xfrm>
        </p:spPr>
        <p:txBody>
          <a:bodyPr/>
          <a:lstStyle/>
          <a:p>
            <a:r>
              <a:rPr lang="en-US" dirty="0"/>
              <a:t>Maximizing Career Outreach </a:t>
            </a:r>
            <a:r>
              <a:rPr lang="en-US" dirty="0" smtClean="0"/>
              <a:t>through Effective Partnership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9912" y="4515335"/>
            <a:ext cx="6859208" cy="1107996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 smtClean="0"/>
              <a:t>Northeastern NC Career Pathways</a:t>
            </a:r>
          </a:p>
          <a:p>
            <a:r>
              <a:rPr lang="en-US" sz="2400" dirty="0" smtClean="0"/>
              <a:t>Leadership Council Meeting</a:t>
            </a:r>
          </a:p>
          <a:p>
            <a:r>
              <a:rPr lang="en-US" sz="2400" dirty="0" smtClean="0"/>
              <a:t>October 26, 2018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339397" y="3407037"/>
            <a:ext cx="6841373" cy="800219"/>
          </a:xfrm>
        </p:spPr>
        <p:txBody>
          <a:bodyPr/>
          <a:lstStyle/>
          <a:p>
            <a:r>
              <a:rPr lang="en-US" sz="2400" dirty="0"/>
              <a:t>Rachel </a:t>
            </a:r>
            <a:r>
              <a:rPr lang="en-US" sz="2400" dirty="0" smtClean="0"/>
              <a:t>Bridgers, PCC </a:t>
            </a:r>
            <a:r>
              <a:rPr lang="en-US" sz="2400" dirty="0"/>
              <a:t>Career Outreach Speciali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790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0" y="-6495"/>
            <a:ext cx="12192000" cy="318770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 txBox="1">
            <a:spLocks/>
          </p:cNvSpPr>
          <p:nvPr/>
        </p:nvSpPr>
        <p:spPr bwMode="auto">
          <a:xfrm>
            <a:off x="723900" y="230315"/>
            <a:ext cx="10820400" cy="769441"/>
          </a:xfrm>
          <a:prstGeom prst="rect">
            <a:avLst/>
          </a:prstGeom>
          <a:extLst/>
        </p:spPr>
        <p:txBody>
          <a:bodyPr>
            <a:spAutoFit/>
          </a:bodyPr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IN" sz="4400" dirty="0" smtClean="0"/>
              <a:t>Career Outreach Activities</a:t>
            </a:r>
            <a:endParaRPr lang="en-IN" sz="44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 txBox="1">
            <a:spLocks/>
          </p:cNvSpPr>
          <p:nvPr/>
        </p:nvSpPr>
        <p:spPr>
          <a:xfrm>
            <a:off x="723901" y="930923"/>
            <a:ext cx="10820400" cy="307777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kern="0" dirty="0"/>
              <a:t>Connecting students </a:t>
            </a:r>
            <a:r>
              <a:rPr lang="en-US" sz="2000" kern="0" dirty="0" smtClean="0"/>
              <a:t>of various majors and backgrounds with local </a:t>
            </a:r>
            <a:r>
              <a:rPr lang="en-US" sz="2000" kern="0" dirty="0"/>
              <a:t>employer </a:t>
            </a:r>
            <a:r>
              <a:rPr lang="en-US" sz="2000" kern="0" dirty="0" smtClean="0"/>
              <a:t>partners</a:t>
            </a:r>
            <a:endParaRPr lang="en-US" sz="2000" kern="0" dirty="0"/>
          </a:p>
        </p:txBody>
      </p:sp>
      <p:sp>
        <p:nvSpPr>
          <p:cNvPr id="9" name="Freeform 8"/>
          <p:cNvSpPr/>
          <p:nvPr/>
        </p:nvSpPr>
        <p:spPr>
          <a:xfrm>
            <a:off x="5414966" y="1604798"/>
            <a:ext cx="1321069" cy="1321069"/>
          </a:xfrm>
          <a:custGeom>
            <a:avLst/>
            <a:gdLst>
              <a:gd name="connsiteX0" fmla="*/ 0 w 1226343"/>
              <a:gd name="connsiteY0" fmla="*/ 613172 h 1226343"/>
              <a:gd name="connsiteX1" fmla="*/ 613172 w 1226343"/>
              <a:gd name="connsiteY1" fmla="*/ 0 h 1226343"/>
              <a:gd name="connsiteX2" fmla="*/ 1226344 w 1226343"/>
              <a:gd name="connsiteY2" fmla="*/ 613172 h 1226343"/>
              <a:gd name="connsiteX3" fmla="*/ 613172 w 1226343"/>
              <a:gd name="connsiteY3" fmla="*/ 1226344 h 1226343"/>
              <a:gd name="connsiteX4" fmla="*/ 0 w 1226343"/>
              <a:gd name="connsiteY4" fmla="*/ 613172 h 122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6343" h="1226343">
                <a:moveTo>
                  <a:pt x="0" y="613172"/>
                </a:moveTo>
                <a:cubicBezTo>
                  <a:pt x="0" y="274526"/>
                  <a:pt x="274526" y="0"/>
                  <a:pt x="613172" y="0"/>
                </a:cubicBezTo>
                <a:cubicBezTo>
                  <a:pt x="951818" y="0"/>
                  <a:pt x="1226344" y="274526"/>
                  <a:pt x="1226344" y="613172"/>
                </a:cubicBezTo>
                <a:cubicBezTo>
                  <a:pt x="1226344" y="951818"/>
                  <a:pt x="951818" y="1226344"/>
                  <a:pt x="613172" y="1226344"/>
                </a:cubicBezTo>
                <a:cubicBezTo>
                  <a:pt x="274526" y="1226344"/>
                  <a:pt x="0" y="951818"/>
                  <a:pt x="0" y="61317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0259" tIns="290259" rIns="290259" bIns="290259" numCol="1" spcCol="1270" anchor="ctr" anchorCtr="0">
            <a:noAutofit/>
          </a:bodyPr>
          <a:lstStyle/>
          <a:p>
            <a:pPr algn="ctr" defTabSz="1777956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4000"/>
          </a:p>
        </p:txBody>
      </p:sp>
      <p:sp>
        <p:nvSpPr>
          <p:cNvPr id="10" name="Freeform 9"/>
          <p:cNvSpPr/>
          <p:nvPr/>
        </p:nvSpPr>
        <p:spPr>
          <a:xfrm>
            <a:off x="7021590" y="2772078"/>
            <a:ext cx="1321069" cy="1321069"/>
          </a:xfrm>
          <a:custGeom>
            <a:avLst/>
            <a:gdLst>
              <a:gd name="connsiteX0" fmla="*/ 0 w 1226343"/>
              <a:gd name="connsiteY0" fmla="*/ 613172 h 1226343"/>
              <a:gd name="connsiteX1" fmla="*/ 613172 w 1226343"/>
              <a:gd name="connsiteY1" fmla="*/ 0 h 1226343"/>
              <a:gd name="connsiteX2" fmla="*/ 1226344 w 1226343"/>
              <a:gd name="connsiteY2" fmla="*/ 613172 h 1226343"/>
              <a:gd name="connsiteX3" fmla="*/ 613172 w 1226343"/>
              <a:gd name="connsiteY3" fmla="*/ 1226344 h 1226343"/>
              <a:gd name="connsiteX4" fmla="*/ 0 w 1226343"/>
              <a:gd name="connsiteY4" fmla="*/ 613172 h 122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6343" h="1226343">
                <a:moveTo>
                  <a:pt x="0" y="613172"/>
                </a:moveTo>
                <a:cubicBezTo>
                  <a:pt x="0" y="274526"/>
                  <a:pt x="274526" y="0"/>
                  <a:pt x="613172" y="0"/>
                </a:cubicBezTo>
                <a:cubicBezTo>
                  <a:pt x="951818" y="0"/>
                  <a:pt x="1226344" y="274526"/>
                  <a:pt x="1226344" y="613172"/>
                </a:cubicBezTo>
                <a:cubicBezTo>
                  <a:pt x="1226344" y="951818"/>
                  <a:pt x="951818" y="1226344"/>
                  <a:pt x="613172" y="1226344"/>
                </a:cubicBezTo>
                <a:cubicBezTo>
                  <a:pt x="274526" y="1226344"/>
                  <a:pt x="0" y="951818"/>
                  <a:pt x="0" y="61317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0259" tIns="290259" rIns="290259" bIns="290259" numCol="1" spcCol="1270" anchor="ctr" anchorCtr="0">
            <a:noAutofit/>
          </a:bodyPr>
          <a:lstStyle/>
          <a:p>
            <a:pPr algn="ctr" defTabSz="1777956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4000"/>
          </a:p>
        </p:txBody>
      </p:sp>
      <p:sp>
        <p:nvSpPr>
          <p:cNvPr id="11" name="Freeform 10"/>
          <p:cNvSpPr/>
          <p:nvPr/>
        </p:nvSpPr>
        <p:spPr>
          <a:xfrm>
            <a:off x="6407914" y="4660779"/>
            <a:ext cx="1321069" cy="1321069"/>
          </a:xfrm>
          <a:custGeom>
            <a:avLst/>
            <a:gdLst>
              <a:gd name="connsiteX0" fmla="*/ 0 w 1226343"/>
              <a:gd name="connsiteY0" fmla="*/ 613172 h 1226343"/>
              <a:gd name="connsiteX1" fmla="*/ 613172 w 1226343"/>
              <a:gd name="connsiteY1" fmla="*/ 0 h 1226343"/>
              <a:gd name="connsiteX2" fmla="*/ 1226344 w 1226343"/>
              <a:gd name="connsiteY2" fmla="*/ 613172 h 1226343"/>
              <a:gd name="connsiteX3" fmla="*/ 613172 w 1226343"/>
              <a:gd name="connsiteY3" fmla="*/ 1226344 h 1226343"/>
              <a:gd name="connsiteX4" fmla="*/ 0 w 1226343"/>
              <a:gd name="connsiteY4" fmla="*/ 613172 h 122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6343" h="1226343">
                <a:moveTo>
                  <a:pt x="0" y="613172"/>
                </a:moveTo>
                <a:cubicBezTo>
                  <a:pt x="0" y="274526"/>
                  <a:pt x="274526" y="0"/>
                  <a:pt x="613172" y="0"/>
                </a:cubicBezTo>
                <a:cubicBezTo>
                  <a:pt x="951818" y="0"/>
                  <a:pt x="1226344" y="274526"/>
                  <a:pt x="1226344" y="613172"/>
                </a:cubicBezTo>
                <a:cubicBezTo>
                  <a:pt x="1226344" y="951818"/>
                  <a:pt x="951818" y="1226344"/>
                  <a:pt x="613172" y="1226344"/>
                </a:cubicBezTo>
                <a:cubicBezTo>
                  <a:pt x="274526" y="1226344"/>
                  <a:pt x="0" y="951818"/>
                  <a:pt x="0" y="61317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0259" tIns="290259" rIns="290259" bIns="290259" numCol="1" spcCol="1270" anchor="ctr" anchorCtr="0">
            <a:noAutofit/>
          </a:bodyPr>
          <a:lstStyle/>
          <a:p>
            <a:pPr algn="ctr" defTabSz="1777956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4000"/>
          </a:p>
        </p:txBody>
      </p:sp>
      <p:sp>
        <p:nvSpPr>
          <p:cNvPr id="12" name="Freeform 11"/>
          <p:cNvSpPr/>
          <p:nvPr/>
        </p:nvSpPr>
        <p:spPr>
          <a:xfrm>
            <a:off x="4422016" y="4660779"/>
            <a:ext cx="1321069" cy="1321069"/>
          </a:xfrm>
          <a:custGeom>
            <a:avLst/>
            <a:gdLst>
              <a:gd name="connsiteX0" fmla="*/ 0 w 1226343"/>
              <a:gd name="connsiteY0" fmla="*/ 613172 h 1226343"/>
              <a:gd name="connsiteX1" fmla="*/ 613172 w 1226343"/>
              <a:gd name="connsiteY1" fmla="*/ 0 h 1226343"/>
              <a:gd name="connsiteX2" fmla="*/ 1226344 w 1226343"/>
              <a:gd name="connsiteY2" fmla="*/ 613172 h 1226343"/>
              <a:gd name="connsiteX3" fmla="*/ 613172 w 1226343"/>
              <a:gd name="connsiteY3" fmla="*/ 1226344 h 1226343"/>
              <a:gd name="connsiteX4" fmla="*/ 0 w 1226343"/>
              <a:gd name="connsiteY4" fmla="*/ 613172 h 122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6343" h="1226343">
                <a:moveTo>
                  <a:pt x="0" y="613172"/>
                </a:moveTo>
                <a:cubicBezTo>
                  <a:pt x="0" y="274526"/>
                  <a:pt x="274526" y="0"/>
                  <a:pt x="613172" y="0"/>
                </a:cubicBezTo>
                <a:cubicBezTo>
                  <a:pt x="951818" y="0"/>
                  <a:pt x="1226344" y="274526"/>
                  <a:pt x="1226344" y="613172"/>
                </a:cubicBezTo>
                <a:cubicBezTo>
                  <a:pt x="1226344" y="951818"/>
                  <a:pt x="951818" y="1226344"/>
                  <a:pt x="613172" y="1226344"/>
                </a:cubicBezTo>
                <a:cubicBezTo>
                  <a:pt x="274526" y="1226344"/>
                  <a:pt x="0" y="951818"/>
                  <a:pt x="0" y="61317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0259" tIns="290259" rIns="290259" bIns="290259" numCol="1" spcCol="1270" anchor="ctr" anchorCtr="0">
            <a:noAutofit/>
          </a:bodyPr>
          <a:lstStyle/>
          <a:p>
            <a:pPr algn="ctr" defTabSz="1777956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4000"/>
          </a:p>
        </p:txBody>
      </p:sp>
      <p:sp>
        <p:nvSpPr>
          <p:cNvPr id="13" name="Freeform 12"/>
          <p:cNvSpPr/>
          <p:nvPr/>
        </p:nvSpPr>
        <p:spPr>
          <a:xfrm>
            <a:off x="3808340" y="2772078"/>
            <a:ext cx="1321069" cy="1321069"/>
          </a:xfrm>
          <a:custGeom>
            <a:avLst/>
            <a:gdLst>
              <a:gd name="connsiteX0" fmla="*/ 0 w 1226343"/>
              <a:gd name="connsiteY0" fmla="*/ 613172 h 1226343"/>
              <a:gd name="connsiteX1" fmla="*/ 613172 w 1226343"/>
              <a:gd name="connsiteY1" fmla="*/ 0 h 1226343"/>
              <a:gd name="connsiteX2" fmla="*/ 1226344 w 1226343"/>
              <a:gd name="connsiteY2" fmla="*/ 613172 h 1226343"/>
              <a:gd name="connsiteX3" fmla="*/ 613172 w 1226343"/>
              <a:gd name="connsiteY3" fmla="*/ 1226344 h 1226343"/>
              <a:gd name="connsiteX4" fmla="*/ 0 w 1226343"/>
              <a:gd name="connsiteY4" fmla="*/ 613172 h 122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6343" h="1226343">
                <a:moveTo>
                  <a:pt x="0" y="613172"/>
                </a:moveTo>
                <a:cubicBezTo>
                  <a:pt x="0" y="274526"/>
                  <a:pt x="274526" y="0"/>
                  <a:pt x="613172" y="0"/>
                </a:cubicBezTo>
                <a:cubicBezTo>
                  <a:pt x="951818" y="0"/>
                  <a:pt x="1226344" y="274526"/>
                  <a:pt x="1226344" y="613172"/>
                </a:cubicBezTo>
                <a:cubicBezTo>
                  <a:pt x="1226344" y="951818"/>
                  <a:pt x="951818" y="1226344"/>
                  <a:pt x="613172" y="1226344"/>
                </a:cubicBezTo>
                <a:cubicBezTo>
                  <a:pt x="274526" y="1226344"/>
                  <a:pt x="0" y="951818"/>
                  <a:pt x="0" y="613172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0259" tIns="290259" rIns="290259" bIns="290259" numCol="1" spcCol="1270" anchor="ctr" anchorCtr="0">
            <a:noAutofit/>
          </a:bodyPr>
          <a:lstStyle/>
          <a:p>
            <a:pPr algn="ctr" defTabSz="1777956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400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0728" y="1890886"/>
            <a:ext cx="749485" cy="74948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1316" y="2852154"/>
            <a:ext cx="890469" cy="89046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283" y="4891700"/>
            <a:ext cx="859224" cy="85922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576" y="4923338"/>
            <a:ext cx="795949" cy="79594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5772" y="2954452"/>
            <a:ext cx="965625" cy="965625"/>
          </a:xfrm>
          <a:prstGeom prst="rect">
            <a:avLst/>
          </a:prstGeom>
        </p:spPr>
      </p:pic>
      <p:sp>
        <p:nvSpPr>
          <p:cNvPr id="19" name="Freeform 18"/>
          <p:cNvSpPr/>
          <p:nvPr/>
        </p:nvSpPr>
        <p:spPr>
          <a:xfrm rot="19440000">
            <a:off x="5087942" y="2631903"/>
            <a:ext cx="352357" cy="445861"/>
          </a:xfrm>
          <a:custGeom>
            <a:avLst/>
            <a:gdLst>
              <a:gd name="connsiteX0" fmla="*/ 0 w 327092"/>
              <a:gd name="connsiteY0" fmla="*/ 82778 h 413891"/>
              <a:gd name="connsiteX1" fmla="*/ 163546 w 327092"/>
              <a:gd name="connsiteY1" fmla="*/ 82778 h 413891"/>
              <a:gd name="connsiteX2" fmla="*/ 163546 w 327092"/>
              <a:gd name="connsiteY2" fmla="*/ 0 h 413891"/>
              <a:gd name="connsiteX3" fmla="*/ 327092 w 327092"/>
              <a:gd name="connsiteY3" fmla="*/ 206946 h 413891"/>
              <a:gd name="connsiteX4" fmla="*/ 163546 w 327092"/>
              <a:gd name="connsiteY4" fmla="*/ 413891 h 413891"/>
              <a:gd name="connsiteX5" fmla="*/ 163546 w 327092"/>
              <a:gd name="connsiteY5" fmla="*/ 331113 h 413891"/>
              <a:gd name="connsiteX6" fmla="*/ 0 w 327092"/>
              <a:gd name="connsiteY6" fmla="*/ 331113 h 413891"/>
              <a:gd name="connsiteX7" fmla="*/ 0 w 327092"/>
              <a:gd name="connsiteY7" fmla="*/ 82778 h 41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7092" h="413891">
                <a:moveTo>
                  <a:pt x="0" y="82778"/>
                </a:moveTo>
                <a:lnTo>
                  <a:pt x="163546" y="82778"/>
                </a:lnTo>
                <a:lnTo>
                  <a:pt x="163546" y="0"/>
                </a:lnTo>
                <a:lnTo>
                  <a:pt x="327092" y="206946"/>
                </a:lnTo>
                <a:lnTo>
                  <a:pt x="163546" y="413891"/>
                </a:lnTo>
                <a:lnTo>
                  <a:pt x="163546" y="331113"/>
                </a:lnTo>
                <a:lnTo>
                  <a:pt x="0" y="331113"/>
                </a:lnTo>
                <a:lnTo>
                  <a:pt x="0" y="82778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110369" rIns="130837" bIns="110371" numCol="1" spcCol="1270" anchor="ctr" anchorCtr="0">
            <a:noAutofit/>
          </a:bodyPr>
          <a:lstStyle/>
          <a:p>
            <a:pPr algn="ctr" defTabSz="711182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1600"/>
          </a:p>
        </p:txBody>
      </p:sp>
      <p:sp>
        <p:nvSpPr>
          <p:cNvPr id="20" name="Freeform 19"/>
          <p:cNvSpPr/>
          <p:nvPr/>
        </p:nvSpPr>
        <p:spPr>
          <a:xfrm rot="2160000">
            <a:off x="6694566" y="2620180"/>
            <a:ext cx="352357" cy="445861"/>
          </a:xfrm>
          <a:custGeom>
            <a:avLst/>
            <a:gdLst>
              <a:gd name="connsiteX0" fmla="*/ 0 w 327092"/>
              <a:gd name="connsiteY0" fmla="*/ 82778 h 413891"/>
              <a:gd name="connsiteX1" fmla="*/ 163546 w 327092"/>
              <a:gd name="connsiteY1" fmla="*/ 82778 h 413891"/>
              <a:gd name="connsiteX2" fmla="*/ 163546 w 327092"/>
              <a:gd name="connsiteY2" fmla="*/ 0 h 413891"/>
              <a:gd name="connsiteX3" fmla="*/ 327092 w 327092"/>
              <a:gd name="connsiteY3" fmla="*/ 206946 h 413891"/>
              <a:gd name="connsiteX4" fmla="*/ 163546 w 327092"/>
              <a:gd name="connsiteY4" fmla="*/ 413891 h 413891"/>
              <a:gd name="connsiteX5" fmla="*/ 163546 w 327092"/>
              <a:gd name="connsiteY5" fmla="*/ 331113 h 413891"/>
              <a:gd name="connsiteX6" fmla="*/ 0 w 327092"/>
              <a:gd name="connsiteY6" fmla="*/ 331113 h 413891"/>
              <a:gd name="connsiteX7" fmla="*/ 0 w 327092"/>
              <a:gd name="connsiteY7" fmla="*/ 82778 h 41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7092" h="413891">
                <a:moveTo>
                  <a:pt x="0" y="82778"/>
                </a:moveTo>
                <a:lnTo>
                  <a:pt x="163546" y="82778"/>
                </a:lnTo>
                <a:lnTo>
                  <a:pt x="163546" y="0"/>
                </a:lnTo>
                <a:lnTo>
                  <a:pt x="327092" y="206946"/>
                </a:lnTo>
                <a:lnTo>
                  <a:pt x="163546" y="413891"/>
                </a:lnTo>
                <a:lnTo>
                  <a:pt x="163546" y="331113"/>
                </a:lnTo>
                <a:lnTo>
                  <a:pt x="0" y="331113"/>
                </a:lnTo>
                <a:lnTo>
                  <a:pt x="0" y="82778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110371" rIns="130836" bIns="110369" numCol="1" spcCol="1270" anchor="ctr" anchorCtr="0">
            <a:noAutofit/>
          </a:bodyPr>
          <a:lstStyle/>
          <a:p>
            <a:pPr algn="ctr" defTabSz="711182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1600"/>
          </a:p>
        </p:txBody>
      </p:sp>
      <p:sp>
        <p:nvSpPr>
          <p:cNvPr id="21" name="Freeform 20"/>
          <p:cNvSpPr/>
          <p:nvPr/>
        </p:nvSpPr>
        <p:spPr>
          <a:xfrm rot="17280000">
            <a:off x="7202190" y="4144549"/>
            <a:ext cx="352357" cy="445863"/>
          </a:xfrm>
          <a:custGeom>
            <a:avLst/>
            <a:gdLst>
              <a:gd name="connsiteX0" fmla="*/ 0 w 327092"/>
              <a:gd name="connsiteY0" fmla="*/ 82778 h 413891"/>
              <a:gd name="connsiteX1" fmla="*/ 163546 w 327092"/>
              <a:gd name="connsiteY1" fmla="*/ 82778 h 413891"/>
              <a:gd name="connsiteX2" fmla="*/ 163546 w 327092"/>
              <a:gd name="connsiteY2" fmla="*/ 0 h 413891"/>
              <a:gd name="connsiteX3" fmla="*/ 327092 w 327092"/>
              <a:gd name="connsiteY3" fmla="*/ 206946 h 413891"/>
              <a:gd name="connsiteX4" fmla="*/ 163546 w 327092"/>
              <a:gd name="connsiteY4" fmla="*/ 413891 h 413891"/>
              <a:gd name="connsiteX5" fmla="*/ 163546 w 327092"/>
              <a:gd name="connsiteY5" fmla="*/ 331113 h 413891"/>
              <a:gd name="connsiteX6" fmla="*/ 0 w 327092"/>
              <a:gd name="connsiteY6" fmla="*/ 331113 h 413891"/>
              <a:gd name="connsiteX7" fmla="*/ 0 w 327092"/>
              <a:gd name="connsiteY7" fmla="*/ 82778 h 41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7092" h="413891">
                <a:moveTo>
                  <a:pt x="327092" y="331113"/>
                </a:moveTo>
                <a:lnTo>
                  <a:pt x="163546" y="331113"/>
                </a:lnTo>
                <a:lnTo>
                  <a:pt x="163546" y="413891"/>
                </a:lnTo>
                <a:lnTo>
                  <a:pt x="0" y="206945"/>
                </a:lnTo>
                <a:lnTo>
                  <a:pt x="163546" y="0"/>
                </a:lnTo>
                <a:lnTo>
                  <a:pt x="163546" y="82778"/>
                </a:lnTo>
                <a:lnTo>
                  <a:pt x="327092" y="82778"/>
                </a:lnTo>
                <a:lnTo>
                  <a:pt x="327092" y="331113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0836" tIns="110371" rIns="0" bIns="110371" numCol="1" spcCol="1270" anchor="ctr" anchorCtr="0">
            <a:noAutofit/>
          </a:bodyPr>
          <a:lstStyle/>
          <a:p>
            <a:pPr algn="ctr" defTabSz="711182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1600"/>
          </a:p>
        </p:txBody>
      </p:sp>
      <p:sp>
        <p:nvSpPr>
          <p:cNvPr id="22" name="Freeform 21"/>
          <p:cNvSpPr/>
          <p:nvPr/>
        </p:nvSpPr>
        <p:spPr>
          <a:xfrm>
            <a:off x="5909294" y="5098382"/>
            <a:ext cx="352359" cy="445863"/>
          </a:xfrm>
          <a:custGeom>
            <a:avLst/>
            <a:gdLst>
              <a:gd name="connsiteX0" fmla="*/ 0 w 327092"/>
              <a:gd name="connsiteY0" fmla="*/ 82778 h 413891"/>
              <a:gd name="connsiteX1" fmla="*/ 163546 w 327092"/>
              <a:gd name="connsiteY1" fmla="*/ 82778 h 413891"/>
              <a:gd name="connsiteX2" fmla="*/ 163546 w 327092"/>
              <a:gd name="connsiteY2" fmla="*/ 0 h 413891"/>
              <a:gd name="connsiteX3" fmla="*/ 327092 w 327092"/>
              <a:gd name="connsiteY3" fmla="*/ 206946 h 413891"/>
              <a:gd name="connsiteX4" fmla="*/ 163546 w 327092"/>
              <a:gd name="connsiteY4" fmla="*/ 413891 h 413891"/>
              <a:gd name="connsiteX5" fmla="*/ 163546 w 327092"/>
              <a:gd name="connsiteY5" fmla="*/ 331113 h 413891"/>
              <a:gd name="connsiteX6" fmla="*/ 0 w 327092"/>
              <a:gd name="connsiteY6" fmla="*/ 331113 h 413891"/>
              <a:gd name="connsiteX7" fmla="*/ 0 w 327092"/>
              <a:gd name="connsiteY7" fmla="*/ 82778 h 41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7092" h="413891">
                <a:moveTo>
                  <a:pt x="327092" y="331113"/>
                </a:moveTo>
                <a:lnTo>
                  <a:pt x="163546" y="331113"/>
                </a:lnTo>
                <a:lnTo>
                  <a:pt x="163546" y="413891"/>
                </a:lnTo>
                <a:lnTo>
                  <a:pt x="0" y="206945"/>
                </a:lnTo>
                <a:lnTo>
                  <a:pt x="163546" y="0"/>
                </a:lnTo>
                <a:lnTo>
                  <a:pt x="163546" y="82778"/>
                </a:lnTo>
                <a:lnTo>
                  <a:pt x="327092" y="82778"/>
                </a:lnTo>
                <a:lnTo>
                  <a:pt x="327092" y="331113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0837" tIns="110372" rIns="1" bIns="110371" numCol="1" spcCol="1270" anchor="ctr" anchorCtr="0">
            <a:noAutofit/>
          </a:bodyPr>
          <a:lstStyle/>
          <a:p>
            <a:pPr algn="ctr" defTabSz="711182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1600"/>
          </a:p>
        </p:txBody>
      </p:sp>
      <p:sp>
        <p:nvSpPr>
          <p:cNvPr id="23" name="Freeform 22"/>
          <p:cNvSpPr/>
          <p:nvPr/>
        </p:nvSpPr>
        <p:spPr>
          <a:xfrm rot="4320000">
            <a:off x="4602617" y="4163517"/>
            <a:ext cx="352359" cy="445863"/>
          </a:xfrm>
          <a:custGeom>
            <a:avLst/>
            <a:gdLst>
              <a:gd name="connsiteX0" fmla="*/ 0 w 327092"/>
              <a:gd name="connsiteY0" fmla="*/ 82778 h 413891"/>
              <a:gd name="connsiteX1" fmla="*/ 163546 w 327092"/>
              <a:gd name="connsiteY1" fmla="*/ 82778 h 413891"/>
              <a:gd name="connsiteX2" fmla="*/ 163546 w 327092"/>
              <a:gd name="connsiteY2" fmla="*/ 0 h 413891"/>
              <a:gd name="connsiteX3" fmla="*/ 327092 w 327092"/>
              <a:gd name="connsiteY3" fmla="*/ 206946 h 413891"/>
              <a:gd name="connsiteX4" fmla="*/ 163546 w 327092"/>
              <a:gd name="connsiteY4" fmla="*/ 413891 h 413891"/>
              <a:gd name="connsiteX5" fmla="*/ 163546 w 327092"/>
              <a:gd name="connsiteY5" fmla="*/ 331113 h 413891"/>
              <a:gd name="connsiteX6" fmla="*/ 0 w 327092"/>
              <a:gd name="connsiteY6" fmla="*/ 331113 h 413891"/>
              <a:gd name="connsiteX7" fmla="*/ 0 w 327092"/>
              <a:gd name="connsiteY7" fmla="*/ 82778 h 413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7092" h="413891">
                <a:moveTo>
                  <a:pt x="327092" y="331113"/>
                </a:moveTo>
                <a:lnTo>
                  <a:pt x="163546" y="331113"/>
                </a:lnTo>
                <a:lnTo>
                  <a:pt x="163546" y="413891"/>
                </a:lnTo>
                <a:lnTo>
                  <a:pt x="0" y="206945"/>
                </a:lnTo>
                <a:lnTo>
                  <a:pt x="163546" y="0"/>
                </a:lnTo>
                <a:lnTo>
                  <a:pt x="163546" y="82778"/>
                </a:lnTo>
                <a:lnTo>
                  <a:pt x="327092" y="82778"/>
                </a:lnTo>
                <a:lnTo>
                  <a:pt x="327092" y="331113"/>
                </a:lnTo>
                <a:close/>
              </a:path>
            </a:pathLst>
          </a:cu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0837" tIns="110371" rIns="0" bIns="110371" numCol="1" spcCol="1270" anchor="ctr" anchorCtr="0">
            <a:noAutofit/>
          </a:bodyPr>
          <a:lstStyle/>
          <a:p>
            <a:pPr algn="ctr" defTabSz="711182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1600"/>
          </a:p>
        </p:txBody>
      </p:sp>
      <p:sp>
        <p:nvSpPr>
          <p:cNvPr id="24" name="Freeform 23"/>
          <p:cNvSpPr/>
          <p:nvPr/>
        </p:nvSpPr>
        <p:spPr>
          <a:xfrm>
            <a:off x="5414966" y="3259542"/>
            <a:ext cx="1321069" cy="1321069"/>
          </a:xfrm>
          <a:custGeom>
            <a:avLst/>
            <a:gdLst>
              <a:gd name="connsiteX0" fmla="*/ 0 w 1226343"/>
              <a:gd name="connsiteY0" fmla="*/ 613172 h 1226343"/>
              <a:gd name="connsiteX1" fmla="*/ 613172 w 1226343"/>
              <a:gd name="connsiteY1" fmla="*/ 0 h 1226343"/>
              <a:gd name="connsiteX2" fmla="*/ 1226344 w 1226343"/>
              <a:gd name="connsiteY2" fmla="*/ 613172 h 1226343"/>
              <a:gd name="connsiteX3" fmla="*/ 613172 w 1226343"/>
              <a:gd name="connsiteY3" fmla="*/ 1226344 h 1226343"/>
              <a:gd name="connsiteX4" fmla="*/ 0 w 1226343"/>
              <a:gd name="connsiteY4" fmla="*/ 613172 h 122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6343" h="1226343">
                <a:moveTo>
                  <a:pt x="0" y="613172"/>
                </a:moveTo>
                <a:cubicBezTo>
                  <a:pt x="0" y="274526"/>
                  <a:pt x="274526" y="0"/>
                  <a:pt x="613172" y="0"/>
                </a:cubicBezTo>
                <a:cubicBezTo>
                  <a:pt x="951818" y="0"/>
                  <a:pt x="1226344" y="274526"/>
                  <a:pt x="1226344" y="613172"/>
                </a:cubicBezTo>
                <a:cubicBezTo>
                  <a:pt x="1226344" y="951818"/>
                  <a:pt x="951818" y="1226344"/>
                  <a:pt x="613172" y="1226344"/>
                </a:cubicBezTo>
                <a:cubicBezTo>
                  <a:pt x="274526" y="1226344"/>
                  <a:pt x="0" y="951818"/>
                  <a:pt x="0" y="613172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0259" tIns="290259" rIns="290259" bIns="290259" numCol="1" spcCol="1270" anchor="ctr" anchorCtr="0">
            <a:noAutofit/>
          </a:bodyPr>
          <a:lstStyle/>
          <a:p>
            <a:pPr algn="ctr" defTabSz="1777956" latinLnBrk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ko-KR" altLang="en-US" sz="4000"/>
          </a:p>
        </p:txBody>
      </p:sp>
      <p:grpSp>
        <p:nvGrpSpPr>
          <p:cNvPr id="26" name="Group 25"/>
          <p:cNvGrpSpPr/>
          <p:nvPr/>
        </p:nvGrpSpPr>
        <p:grpSpPr>
          <a:xfrm>
            <a:off x="6909075" y="1347822"/>
            <a:ext cx="4505843" cy="1366587"/>
            <a:chOff x="803640" y="3362835"/>
            <a:chExt cx="2059657" cy="1024940"/>
          </a:xfrm>
        </p:grpSpPr>
        <p:sp>
          <p:nvSpPr>
            <p:cNvPr id="27" name="TextBox 26"/>
            <p:cNvSpPr txBox="1"/>
            <p:nvPr/>
          </p:nvSpPr>
          <p:spPr>
            <a:xfrm>
              <a:off x="803640" y="3579862"/>
              <a:ext cx="2059657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Earn while you learn. Eligible students are able to perform work related to their course of study through community service work or within a department on campus. 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03640" y="3362835"/>
              <a:ext cx="2059657" cy="3000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en Sans" panose="020B0606030504020204"/>
                  <a:cs typeface="Arial" pitchFamily="34" charset="0"/>
                </a:rPr>
                <a:t>Federal Work Study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/>
                <a:cs typeface="Arial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8491866" y="2841071"/>
            <a:ext cx="3097945" cy="1638079"/>
            <a:chOff x="803640" y="3362835"/>
            <a:chExt cx="2059657" cy="1228556"/>
          </a:xfrm>
        </p:grpSpPr>
        <p:sp>
          <p:nvSpPr>
            <p:cNvPr id="30" name="TextBox 29"/>
            <p:cNvSpPr txBox="1"/>
            <p:nvPr/>
          </p:nvSpPr>
          <p:spPr>
            <a:xfrm>
              <a:off x="803640" y="3598814"/>
              <a:ext cx="2059657" cy="9925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Students have the ability to participate in site visits to local employers to learn about the nature of their business, company culture, and more!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803640" y="3362835"/>
              <a:ext cx="2059657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en Sans" panose="020B0606030504020204"/>
                  <a:cs typeface="Arial" pitchFamily="34" charset="0"/>
                </a:rPr>
                <a:t>Field Trips/Tours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/>
                <a:cs typeface="Arial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824193" y="4658200"/>
            <a:ext cx="3097945" cy="1366587"/>
            <a:chOff x="803640" y="3362835"/>
            <a:chExt cx="2059657" cy="1024940"/>
          </a:xfrm>
        </p:grpSpPr>
        <p:sp>
          <p:nvSpPr>
            <p:cNvPr id="33" name="TextBox 32"/>
            <p:cNvSpPr txBox="1"/>
            <p:nvPr/>
          </p:nvSpPr>
          <p:spPr>
            <a:xfrm>
              <a:off x="803640" y="3579862"/>
              <a:ext cx="2059657" cy="807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Students can engage in on-the-job-training and accompanied classroom work geared towards a profession or skilled trade. 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803640" y="3362835"/>
              <a:ext cx="2059657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en Sans" panose="020B0606030504020204"/>
                  <a:cs typeface="Arial" pitchFamily="34" charset="0"/>
                </a:rPr>
                <a:t>Apprenticeship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/>
                <a:cs typeface="Arial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188856" y="4620338"/>
            <a:ext cx="3097945" cy="1612808"/>
            <a:chOff x="803640" y="3362835"/>
            <a:chExt cx="2059657" cy="1209606"/>
          </a:xfrm>
        </p:grpSpPr>
        <p:sp>
          <p:nvSpPr>
            <p:cNvPr id="36" name="TextBox 35"/>
            <p:cNvSpPr txBox="1"/>
            <p:nvPr/>
          </p:nvSpPr>
          <p:spPr>
            <a:xfrm>
              <a:off x="803640" y="3579862"/>
              <a:ext cx="2059657" cy="99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Students have the opportunity to engage with a variety of employers from multiple industries through Career Fairs, Coffee Friday events, classroom presentations, and more!</a:t>
              </a:r>
              <a:endPara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803640" y="3362835"/>
              <a:ext cx="2059657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en Sans" panose="020B0606030504020204"/>
                  <a:cs typeface="Arial" pitchFamily="34" charset="0"/>
                </a:rPr>
                <a:t>Employer Engagement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/>
                <a:cs typeface="Arial" pitchFamily="34" charset="0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23393" y="2044451"/>
            <a:ext cx="3097945" cy="2174046"/>
            <a:chOff x="803640" y="3362835"/>
            <a:chExt cx="2059657" cy="1213769"/>
          </a:xfrm>
        </p:grpSpPr>
        <p:sp>
          <p:nvSpPr>
            <p:cNvPr id="39" name="TextBox 38"/>
            <p:cNvSpPr txBox="1"/>
            <p:nvPr/>
          </p:nvSpPr>
          <p:spPr>
            <a:xfrm>
              <a:off x="803640" y="3700263"/>
              <a:ext cx="2059657" cy="876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Students can gain college credit and practical work experience in their program of study while learning valuable skills in local industry to help put theory into practice.</a:t>
              </a:r>
              <a:endPara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03640" y="3362835"/>
              <a:ext cx="2059657" cy="3952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en Sans" panose="020B0606030504020204"/>
                  <a:cs typeface="Arial" pitchFamily="34" charset="0"/>
                </a:rPr>
                <a:t>Cooperative Education </a:t>
              </a:r>
            </a:p>
            <a:p>
              <a:pPr algn="r"/>
              <a:r>
                <a:rPr lang="en-US" altLang="ko-KR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en Sans" panose="020B0606030504020204"/>
                  <a:cs typeface="Arial" pitchFamily="34" charset="0"/>
                </a:rPr>
                <a:t>(aka Work-Based Learning)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/>
                <a:cs typeface="Arial" pitchFamily="34" charset="0"/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722" y="3487955"/>
            <a:ext cx="863496" cy="863496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1852694" y="6653882"/>
            <a:ext cx="181155" cy="1178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0005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/>
        </p:nvSpPr>
        <p:spPr>
          <a:xfrm>
            <a:off x="723901" y="1528909"/>
            <a:ext cx="3104869" cy="287999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3372543" y="1528909"/>
            <a:ext cx="3104869" cy="2879993"/>
          </a:xfrm>
          <a:prstGeom prst="ellips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5932098" y="1521634"/>
            <a:ext cx="3104868" cy="2879994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8529656" y="1523193"/>
            <a:ext cx="3104868" cy="2869864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8886885" y="4583225"/>
            <a:ext cx="242988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External 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keholders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178589" y="4577345"/>
            <a:ext cx="218568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itt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ommunity College 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-3" y="6630939"/>
            <a:ext cx="12191999" cy="144000"/>
            <a:chOff x="4115999" y="1098000"/>
            <a:chExt cx="3960001" cy="54000"/>
          </a:xfrm>
        </p:grpSpPr>
        <p:sp>
          <p:nvSpPr>
            <p:cNvPr id="47" name="Rectangle 46"/>
            <p:cNvSpPr/>
            <p:nvPr/>
          </p:nvSpPr>
          <p:spPr>
            <a:xfrm>
              <a:off x="4116000" y="1098000"/>
              <a:ext cx="3960000" cy="54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4115999" y="1098000"/>
              <a:ext cx="1980000" cy="5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38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 txBox="1">
            <a:spLocks/>
          </p:cNvSpPr>
          <p:nvPr/>
        </p:nvSpPr>
        <p:spPr bwMode="auto">
          <a:xfrm>
            <a:off x="723900" y="230315"/>
            <a:ext cx="10820400" cy="769441"/>
          </a:xfrm>
          <a:prstGeom prst="rect">
            <a:avLst/>
          </a:prstGeom>
          <a:extLst/>
        </p:spPr>
        <p:txBody>
          <a:bodyPr>
            <a:spAutoFit/>
          </a:bodyPr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IN" sz="4400" dirty="0" smtClean="0"/>
              <a:t>Essential Partnerships</a:t>
            </a:r>
            <a:endParaRPr lang="en-IN" sz="4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 txBox="1">
            <a:spLocks/>
          </p:cNvSpPr>
          <p:nvPr/>
        </p:nvSpPr>
        <p:spPr>
          <a:xfrm>
            <a:off x="723901" y="930923"/>
            <a:ext cx="5936191" cy="307777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kern="0" dirty="0" smtClean="0"/>
              <a:t>Providing Critical Support to Build a Skilled Workforce</a:t>
            </a:r>
            <a:endParaRPr lang="en-IN" sz="2000" kern="0" dirty="0"/>
          </a:p>
        </p:txBody>
      </p:sp>
      <p:grpSp>
        <p:nvGrpSpPr>
          <p:cNvPr id="24" name="Group 23"/>
          <p:cNvGrpSpPr/>
          <p:nvPr/>
        </p:nvGrpSpPr>
        <p:grpSpPr>
          <a:xfrm>
            <a:off x="1725155" y="2237627"/>
            <a:ext cx="1092551" cy="1459615"/>
            <a:chOff x="9839325" y="762000"/>
            <a:chExt cx="517525" cy="544513"/>
          </a:xfrm>
          <a:solidFill>
            <a:schemeClr val="tx1"/>
          </a:solidFill>
          <a:effectLst/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9839325" y="1281113"/>
              <a:ext cx="517525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1"/>
            <p:cNvSpPr>
              <a:spLocks noChangeArrowheads="1"/>
            </p:cNvSpPr>
            <p:nvPr/>
          </p:nvSpPr>
          <p:spPr bwMode="auto">
            <a:xfrm>
              <a:off x="9859963" y="1228725"/>
              <a:ext cx="47625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0047288" y="969963"/>
              <a:ext cx="101600" cy="230188"/>
            </a:xfrm>
            <a:custGeom>
              <a:avLst/>
              <a:gdLst>
                <a:gd name="T0" fmla="*/ 64 w 64"/>
                <a:gd name="T1" fmla="*/ 17 h 145"/>
                <a:gd name="T2" fmla="*/ 64 w 64"/>
                <a:gd name="T3" fmla="*/ 0 h 145"/>
                <a:gd name="T4" fmla="*/ 0 w 64"/>
                <a:gd name="T5" fmla="*/ 0 h 145"/>
                <a:gd name="T6" fmla="*/ 0 w 64"/>
                <a:gd name="T7" fmla="*/ 17 h 145"/>
                <a:gd name="T8" fmla="*/ 12 w 64"/>
                <a:gd name="T9" fmla="*/ 17 h 145"/>
                <a:gd name="T10" fmla="*/ 12 w 64"/>
                <a:gd name="T11" fmla="*/ 128 h 145"/>
                <a:gd name="T12" fmla="*/ 0 w 64"/>
                <a:gd name="T13" fmla="*/ 128 h 145"/>
                <a:gd name="T14" fmla="*/ 0 w 64"/>
                <a:gd name="T15" fmla="*/ 145 h 145"/>
                <a:gd name="T16" fmla="*/ 64 w 64"/>
                <a:gd name="T17" fmla="*/ 145 h 145"/>
                <a:gd name="T18" fmla="*/ 64 w 64"/>
                <a:gd name="T19" fmla="*/ 128 h 145"/>
                <a:gd name="T20" fmla="*/ 52 w 64"/>
                <a:gd name="T21" fmla="*/ 128 h 145"/>
                <a:gd name="T22" fmla="*/ 52 w 64"/>
                <a:gd name="T23" fmla="*/ 17 h 145"/>
                <a:gd name="T24" fmla="*/ 64 w 64"/>
                <a:gd name="T25" fmla="*/ 1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45">
                  <a:moveTo>
                    <a:pt x="64" y="17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12" y="17"/>
                  </a:lnTo>
                  <a:lnTo>
                    <a:pt x="12" y="128"/>
                  </a:lnTo>
                  <a:lnTo>
                    <a:pt x="0" y="128"/>
                  </a:lnTo>
                  <a:lnTo>
                    <a:pt x="0" y="145"/>
                  </a:lnTo>
                  <a:lnTo>
                    <a:pt x="64" y="145"/>
                  </a:lnTo>
                  <a:lnTo>
                    <a:pt x="64" y="128"/>
                  </a:lnTo>
                  <a:lnTo>
                    <a:pt x="52" y="128"/>
                  </a:lnTo>
                  <a:lnTo>
                    <a:pt x="52" y="17"/>
                  </a:lnTo>
                  <a:lnTo>
                    <a:pt x="6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3"/>
            <p:cNvSpPr>
              <a:spLocks/>
            </p:cNvSpPr>
            <p:nvPr/>
          </p:nvSpPr>
          <p:spPr bwMode="auto">
            <a:xfrm>
              <a:off x="10199688" y="969963"/>
              <a:ext cx="101600" cy="230188"/>
            </a:xfrm>
            <a:custGeom>
              <a:avLst/>
              <a:gdLst>
                <a:gd name="T0" fmla="*/ 64 w 64"/>
                <a:gd name="T1" fmla="*/ 17 h 145"/>
                <a:gd name="T2" fmla="*/ 64 w 64"/>
                <a:gd name="T3" fmla="*/ 0 h 145"/>
                <a:gd name="T4" fmla="*/ 0 w 64"/>
                <a:gd name="T5" fmla="*/ 0 h 145"/>
                <a:gd name="T6" fmla="*/ 0 w 64"/>
                <a:gd name="T7" fmla="*/ 17 h 145"/>
                <a:gd name="T8" fmla="*/ 12 w 64"/>
                <a:gd name="T9" fmla="*/ 17 h 145"/>
                <a:gd name="T10" fmla="*/ 12 w 64"/>
                <a:gd name="T11" fmla="*/ 128 h 145"/>
                <a:gd name="T12" fmla="*/ 0 w 64"/>
                <a:gd name="T13" fmla="*/ 128 h 145"/>
                <a:gd name="T14" fmla="*/ 0 w 64"/>
                <a:gd name="T15" fmla="*/ 145 h 145"/>
                <a:gd name="T16" fmla="*/ 64 w 64"/>
                <a:gd name="T17" fmla="*/ 145 h 145"/>
                <a:gd name="T18" fmla="*/ 64 w 64"/>
                <a:gd name="T19" fmla="*/ 128 h 145"/>
                <a:gd name="T20" fmla="*/ 52 w 64"/>
                <a:gd name="T21" fmla="*/ 128 h 145"/>
                <a:gd name="T22" fmla="*/ 52 w 64"/>
                <a:gd name="T23" fmla="*/ 17 h 145"/>
                <a:gd name="T24" fmla="*/ 64 w 64"/>
                <a:gd name="T25" fmla="*/ 1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45">
                  <a:moveTo>
                    <a:pt x="64" y="17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12" y="17"/>
                  </a:lnTo>
                  <a:lnTo>
                    <a:pt x="12" y="128"/>
                  </a:lnTo>
                  <a:lnTo>
                    <a:pt x="0" y="128"/>
                  </a:lnTo>
                  <a:lnTo>
                    <a:pt x="0" y="145"/>
                  </a:lnTo>
                  <a:lnTo>
                    <a:pt x="64" y="145"/>
                  </a:lnTo>
                  <a:lnTo>
                    <a:pt x="64" y="128"/>
                  </a:lnTo>
                  <a:lnTo>
                    <a:pt x="52" y="128"/>
                  </a:lnTo>
                  <a:lnTo>
                    <a:pt x="52" y="17"/>
                  </a:lnTo>
                  <a:lnTo>
                    <a:pt x="6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4"/>
            <p:cNvSpPr>
              <a:spLocks/>
            </p:cNvSpPr>
            <p:nvPr/>
          </p:nvSpPr>
          <p:spPr bwMode="auto">
            <a:xfrm>
              <a:off x="9894888" y="969963"/>
              <a:ext cx="101600" cy="230188"/>
            </a:xfrm>
            <a:custGeom>
              <a:avLst/>
              <a:gdLst>
                <a:gd name="T0" fmla="*/ 64 w 64"/>
                <a:gd name="T1" fmla="*/ 17 h 145"/>
                <a:gd name="T2" fmla="*/ 64 w 64"/>
                <a:gd name="T3" fmla="*/ 0 h 145"/>
                <a:gd name="T4" fmla="*/ 0 w 64"/>
                <a:gd name="T5" fmla="*/ 0 h 145"/>
                <a:gd name="T6" fmla="*/ 0 w 64"/>
                <a:gd name="T7" fmla="*/ 17 h 145"/>
                <a:gd name="T8" fmla="*/ 12 w 64"/>
                <a:gd name="T9" fmla="*/ 17 h 145"/>
                <a:gd name="T10" fmla="*/ 12 w 64"/>
                <a:gd name="T11" fmla="*/ 128 h 145"/>
                <a:gd name="T12" fmla="*/ 0 w 64"/>
                <a:gd name="T13" fmla="*/ 128 h 145"/>
                <a:gd name="T14" fmla="*/ 0 w 64"/>
                <a:gd name="T15" fmla="*/ 145 h 145"/>
                <a:gd name="T16" fmla="*/ 64 w 64"/>
                <a:gd name="T17" fmla="*/ 145 h 145"/>
                <a:gd name="T18" fmla="*/ 64 w 64"/>
                <a:gd name="T19" fmla="*/ 128 h 145"/>
                <a:gd name="T20" fmla="*/ 53 w 64"/>
                <a:gd name="T21" fmla="*/ 128 h 145"/>
                <a:gd name="T22" fmla="*/ 53 w 64"/>
                <a:gd name="T23" fmla="*/ 17 h 145"/>
                <a:gd name="T24" fmla="*/ 64 w 64"/>
                <a:gd name="T25" fmla="*/ 17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45">
                  <a:moveTo>
                    <a:pt x="64" y="17"/>
                  </a:moveTo>
                  <a:lnTo>
                    <a:pt x="6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12" y="17"/>
                  </a:lnTo>
                  <a:lnTo>
                    <a:pt x="12" y="128"/>
                  </a:lnTo>
                  <a:lnTo>
                    <a:pt x="0" y="128"/>
                  </a:lnTo>
                  <a:lnTo>
                    <a:pt x="0" y="145"/>
                  </a:lnTo>
                  <a:lnTo>
                    <a:pt x="64" y="145"/>
                  </a:lnTo>
                  <a:lnTo>
                    <a:pt x="64" y="128"/>
                  </a:lnTo>
                  <a:lnTo>
                    <a:pt x="53" y="128"/>
                  </a:lnTo>
                  <a:lnTo>
                    <a:pt x="53" y="17"/>
                  </a:lnTo>
                  <a:lnTo>
                    <a:pt x="6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"/>
            <p:cNvSpPr>
              <a:spLocks/>
            </p:cNvSpPr>
            <p:nvPr/>
          </p:nvSpPr>
          <p:spPr bwMode="auto">
            <a:xfrm>
              <a:off x="9859963" y="762000"/>
              <a:ext cx="476250" cy="177800"/>
            </a:xfrm>
            <a:custGeom>
              <a:avLst/>
              <a:gdLst>
                <a:gd name="T0" fmla="*/ 300 w 300"/>
                <a:gd name="T1" fmla="*/ 95 h 112"/>
                <a:gd name="T2" fmla="*/ 150 w 300"/>
                <a:gd name="T3" fmla="*/ 0 h 112"/>
                <a:gd name="T4" fmla="*/ 0 w 300"/>
                <a:gd name="T5" fmla="*/ 95 h 112"/>
                <a:gd name="T6" fmla="*/ 0 w 300"/>
                <a:gd name="T7" fmla="*/ 112 h 112"/>
                <a:gd name="T8" fmla="*/ 300 w 300"/>
                <a:gd name="T9" fmla="*/ 112 h 112"/>
                <a:gd name="T10" fmla="*/ 300 w 300"/>
                <a:gd name="T11" fmla="*/ 9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0" h="112">
                  <a:moveTo>
                    <a:pt x="300" y="95"/>
                  </a:moveTo>
                  <a:lnTo>
                    <a:pt x="150" y="0"/>
                  </a:lnTo>
                  <a:lnTo>
                    <a:pt x="0" y="95"/>
                  </a:lnTo>
                  <a:lnTo>
                    <a:pt x="0" y="112"/>
                  </a:lnTo>
                  <a:lnTo>
                    <a:pt x="300" y="112"/>
                  </a:lnTo>
                  <a:lnTo>
                    <a:pt x="30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Freeform 5"/>
          <p:cNvSpPr>
            <a:spLocks noChangeAspect="1" noEditPoints="1"/>
          </p:cNvSpPr>
          <p:nvPr/>
        </p:nvSpPr>
        <p:spPr bwMode="auto">
          <a:xfrm>
            <a:off x="6882493" y="2313429"/>
            <a:ext cx="1334000" cy="1315726"/>
          </a:xfrm>
          <a:custGeom>
            <a:avLst/>
            <a:gdLst>
              <a:gd name="T0" fmla="*/ 414 w 414"/>
              <a:gd name="T1" fmla="*/ 167 h 408"/>
              <a:gd name="T2" fmla="*/ 330 w 414"/>
              <a:gd name="T3" fmla="*/ 145 h 408"/>
              <a:gd name="T4" fmla="*/ 327 w 414"/>
              <a:gd name="T5" fmla="*/ 33 h 408"/>
              <a:gd name="T6" fmla="*/ 252 w 414"/>
              <a:gd name="T7" fmla="*/ 73 h 408"/>
              <a:gd name="T8" fmla="*/ 209 w 414"/>
              <a:gd name="T9" fmla="*/ 0 h 408"/>
              <a:gd name="T10" fmla="*/ 163 w 414"/>
              <a:gd name="T11" fmla="*/ 73 h 408"/>
              <a:gd name="T12" fmla="*/ 88 w 414"/>
              <a:gd name="T13" fmla="*/ 33 h 408"/>
              <a:gd name="T14" fmla="*/ 84 w 414"/>
              <a:gd name="T15" fmla="*/ 145 h 408"/>
              <a:gd name="T16" fmla="*/ 0 w 414"/>
              <a:gd name="T17" fmla="*/ 167 h 408"/>
              <a:gd name="T18" fmla="*/ 82 w 414"/>
              <a:gd name="T19" fmla="*/ 249 h 408"/>
              <a:gd name="T20" fmla="*/ 34 w 414"/>
              <a:gd name="T21" fmla="*/ 322 h 408"/>
              <a:gd name="T22" fmla="*/ 153 w 414"/>
              <a:gd name="T23" fmla="*/ 321 h 408"/>
              <a:gd name="T24" fmla="*/ 169 w 414"/>
              <a:gd name="T25" fmla="*/ 408 h 408"/>
              <a:gd name="T26" fmla="*/ 245 w 414"/>
              <a:gd name="T27" fmla="*/ 408 h 408"/>
              <a:gd name="T28" fmla="*/ 261 w 414"/>
              <a:gd name="T29" fmla="*/ 321 h 408"/>
              <a:gd name="T30" fmla="*/ 380 w 414"/>
              <a:gd name="T31" fmla="*/ 322 h 408"/>
              <a:gd name="T32" fmla="*/ 332 w 414"/>
              <a:gd name="T33" fmla="*/ 249 h 408"/>
              <a:gd name="T34" fmla="*/ 280 w 414"/>
              <a:gd name="T35" fmla="*/ 219 h 408"/>
              <a:gd name="T36" fmla="*/ 276 w 414"/>
              <a:gd name="T37" fmla="*/ 232 h 408"/>
              <a:gd name="T38" fmla="*/ 269 w 414"/>
              <a:gd name="T39" fmla="*/ 245 h 408"/>
              <a:gd name="T40" fmla="*/ 260 w 414"/>
              <a:gd name="T41" fmla="*/ 256 h 408"/>
              <a:gd name="T42" fmla="*/ 249 w 414"/>
              <a:gd name="T43" fmla="*/ 264 h 408"/>
              <a:gd name="T44" fmla="*/ 237 w 414"/>
              <a:gd name="T45" fmla="*/ 271 h 408"/>
              <a:gd name="T46" fmla="*/ 223 w 414"/>
              <a:gd name="T47" fmla="*/ 276 h 408"/>
              <a:gd name="T48" fmla="*/ 207 w 414"/>
              <a:gd name="T49" fmla="*/ 278 h 408"/>
              <a:gd name="T50" fmla="*/ 207 w 414"/>
              <a:gd name="T51" fmla="*/ 131 h 408"/>
              <a:gd name="T52" fmla="*/ 223 w 414"/>
              <a:gd name="T53" fmla="*/ 133 h 408"/>
              <a:gd name="T54" fmla="*/ 237 w 414"/>
              <a:gd name="T55" fmla="*/ 137 h 408"/>
              <a:gd name="T56" fmla="*/ 249 w 414"/>
              <a:gd name="T57" fmla="*/ 144 h 408"/>
              <a:gd name="T58" fmla="*/ 260 w 414"/>
              <a:gd name="T59" fmla="*/ 153 h 408"/>
              <a:gd name="T60" fmla="*/ 269 w 414"/>
              <a:gd name="T61" fmla="*/ 164 h 408"/>
              <a:gd name="T62" fmla="*/ 276 w 414"/>
              <a:gd name="T63" fmla="*/ 176 h 408"/>
              <a:gd name="T64" fmla="*/ 280 w 414"/>
              <a:gd name="T65" fmla="*/ 190 h 408"/>
              <a:gd name="T66" fmla="*/ 280 w 414"/>
              <a:gd name="T67" fmla="*/ 219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14" h="408">
                <a:moveTo>
                  <a:pt x="414" y="242"/>
                </a:moveTo>
                <a:cubicBezTo>
                  <a:pt x="414" y="167"/>
                  <a:pt x="414" y="167"/>
                  <a:pt x="414" y="167"/>
                </a:cubicBezTo>
                <a:cubicBezTo>
                  <a:pt x="336" y="160"/>
                  <a:pt x="336" y="160"/>
                  <a:pt x="336" y="160"/>
                </a:cubicBezTo>
                <a:cubicBezTo>
                  <a:pt x="334" y="155"/>
                  <a:pt x="333" y="150"/>
                  <a:pt x="330" y="145"/>
                </a:cubicBezTo>
                <a:cubicBezTo>
                  <a:pt x="380" y="86"/>
                  <a:pt x="380" y="86"/>
                  <a:pt x="380" y="86"/>
                </a:cubicBezTo>
                <a:cubicBezTo>
                  <a:pt x="327" y="33"/>
                  <a:pt x="327" y="33"/>
                  <a:pt x="327" y="33"/>
                </a:cubicBezTo>
                <a:cubicBezTo>
                  <a:pt x="269" y="81"/>
                  <a:pt x="269" y="81"/>
                  <a:pt x="269" y="81"/>
                </a:cubicBezTo>
                <a:cubicBezTo>
                  <a:pt x="264" y="78"/>
                  <a:pt x="258" y="75"/>
                  <a:pt x="252" y="73"/>
                </a:cubicBezTo>
                <a:cubicBezTo>
                  <a:pt x="245" y="0"/>
                  <a:pt x="245" y="0"/>
                  <a:pt x="245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169" y="0"/>
                  <a:pt x="169" y="0"/>
                  <a:pt x="169" y="0"/>
                </a:cubicBezTo>
                <a:cubicBezTo>
                  <a:pt x="163" y="73"/>
                  <a:pt x="163" y="73"/>
                  <a:pt x="163" y="73"/>
                </a:cubicBezTo>
                <a:cubicBezTo>
                  <a:pt x="157" y="75"/>
                  <a:pt x="151" y="78"/>
                  <a:pt x="145" y="81"/>
                </a:cubicBezTo>
                <a:cubicBezTo>
                  <a:pt x="88" y="33"/>
                  <a:pt x="88" y="33"/>
                  <a:pt x="88" y="33"/>
                </a:cubicBezTo>
                <a:cubicBezTo>
                  <a:pt x="34" y="86"/>
                  <a:pt x="34" y="86"/>
                  <a:pt x="34" y="86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82" y="150"/>
                  <a:pt x="80" y="155"/>
                  <a:pt x="78" y="160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242"/>
                  <a:pt x="0" y="242"/>
                  <a:pt x="0" y="242"/>
                </a:cubicBezTo>
                <a:cubicBezTo>
                  <a:pt x="82" y="249"/>
                  <a:pt x="82" y="249"/>
                  <a:pt x="82" y="249"/>
                </a:cubicBezTo>
                <a:cubicBezTo>
                  <a:pt x="84" y="253"/>
                  <a:pt x="85" y="256"/>
                  <a:pt x="87" y="259"/>
                </a:cubicBezTo>
                <a:cubicBezTo>
                  <a:pt x="34" y="322"/>
                  <a:pt x="34" y="322"/>
                  <a:pt x="34" y="322"/>
                </a:cubicBezTo>
                <a:cubicBezTo>
                  <a:pt x="88" y="375"/>
                  <a:pt x="88" y="375"/>
                  <a:pt x="88" y="375"/>
                </a:cubicBezTo>
                <a:cubicBezTo>
                  <a:pt x="153" y="321"/>
                  <a:pt x="153" y="321"/>
                  <a:pt x="153" y="321"/>
                </a:cubicBezTo>
                <a:cubicBezTo>
                  <a:pt x="156" y="322"/>
                  <a:pt x="159" y="323"/>
                  <a:pt x="162" y="324"/>
                </a:cubicBezTo>
                <a:cubicBezTo>
                  <a:pt x="169" y="408"/>
                  <a:pt x="169" y="408"/>
                  <a:pt x="169" y="408"/>
                </a:cubicBezTo>
                <a:cubicBezTo>
                  <a:pt x="209" y="408"/>
                  <a:pt x="209" y="408"/>
                  <a:pt x="209" y="408"/>
                </a:cubicBezTo>
                <a:cubicBezTo>
                  <a:pt x="245" y="408"/>
                  <a:pt x="245" y="408"/>
                  <a:pt x="245" y="408"/>
                </a:cubicBezTo>
                <a:cubicBezTo>
                  <a:pt x="253" y="324"/>
                  <a:pt x="253" y="324"/>
                  <a:pt x="253" y="324"/>
                </a:cubicBezTo>
                <a:cubicBezTo>
                  <a:pt x="256" y="323"/>
                  <a:pt x="258" y="322"/>
                  <a:pt x="261" y="321"/>
                </a:cubicBezTo>
                <a:cubicBezTo>
                  <a:pt x="327" y="375"/>
                  <a:pt x="327" y="375"/>
                  <a:pt x="327" y="375"/>
                </a:cubicBezTo>
                <a:cubicBezTo>
                  <a:pt x="380" y="322"/>
                  <a:pt x="380" y="322"/>
                  <a:pt x="380" y="322"/>
                </a:cubicBezTo>
                <a:cubicBezTo>
                  <a:pt x="327" y="259"/>
                  <a:pt x="327" y="259"/>
                  <a:pt x="327" y="259"/>
                </a:cubicBezTo>
                <a:cubicBezTo>
                  <a:pt x="329" y="256"/>
                  <a:pt x="331" y="253"/>
                  <a:pt x="332" y="249"/>
                </a:cubicBezTo>
                <a:lnTo>
                  <a:pt x="414" y="242"/>
                </a:lnTo>
                <a:close/>
                <a:moveTo>
                  <a:pt x="280" y="219"/>
                </a:moveTo>
                <a:cubicBezTo>
                  <a:pt x="280" y="221"/>
                  <a:pt x="279" y="222"/>
                  <a:pt x="278" y="224"/>
                </a:cubicBezTo>
                <a:cubicBezTo>
                  <a:pt x="278" y="227"/>
                  <a:pt x="277" y="230"/>
                  <a:pt x="276" y="232"/>
                </a:cubicBezTo>
                <a:cubicBezTo>
                  <a:pt x="275" y="234"/>
                  <a:pt x="274" y="236"/>
                  <a:pt x="273" y="238"/>
                </a:cubicBezTo>
                <a:cubicBezTo>
                  <a:pt x="271" y="240"/>
                  <a:pt x="270" y="243"/>
                  <a:pt x="269" y="245"/>
                </a:cubicBezTo>
                <a:cubicBezTo>
                  <a:pt x="268" y="247"/>
                  <a:pt x="266" y="248"/>
                  <a:pt x="265" y="250"/>
                </a:cubicBezTo>
                <a:cubicBezTo>
                  <a:pt x="263" y="252"/>
                  <a:pt x="262" y="254"/>
                  <a:pt x="260" y="256"/>
                </a:cubicBezTo>
                <a:cubicBezTo>
                  <a:pt x="258" y="257"/>
                  <a:pt x="256" y="259"/>
                  <a:pt x="254" y="260"/>
                </a:cubicBezTo>
                <a:cubicBezTo>
                  <a:pt x="253" y="262"/>
                  <a:pt x="251" y="263"/>
                  <a:pt x="249" y="264"/>
                </a:cubicBezTo>
                <a:cubicBezTo>
                  <a:pt x="247" y="266"/>
                  <a:pt x="245" y="267"/>
                  <a:pt x="243" y="268"/>
                </a:cubicBezTo>
                <a:cubicBezTo>
                  <a:pt x="241" y="269"/>
                  <a:pt x="239" y="270"/>
                  <a:pt x="237" y="271"/>
                </a:cubicBezTo>
                <a:cubicBezTo>
                  <a:pt x="235" y="272"/>
                  <a:pt x="232" y="273"/>
                  <a:pt x="229" y="274"/>
                </a:cubicBezTo>
                <a:cubicBezTo>
                  <a:pt x="227" y="274"/>
                  <a:pt x="225" y="275"/>
                  <a:pt x="223" y="276"/>
                </a:cubicBezTo>
                <a:cubicBezTo>
                  <a:pt x="221" y="276"/>
                  <a:pt x="218" y="276"/>
                  <a:pt x="215" y="277"/>
                </a:cubicBezTo>
                <a:cubicBezTo>
                  <a:pt x="213" y="277"/>
                  <a:pt x="210" y="278"/>
                  <a:pt x="207" y="278"/>
                </a:cubicBezTo>
                <a:cubicBezTo>
                  <a:pt x="166" y="278"/>
                  <a:pt x="133" y="245"/>
                  <a:pt x="133" y="204"/>
                </a:cubicBezTo>
                <a:cubicBezTo>
                  <a:pt x="133" y="164"/>
                  <a:pt x="166" y="131"/>
                  <a:pt x="207" y="131"/>
                </a:cubicBezTo>
                <a:cubicBezTo>
                  <a:pt x="210" y="131"/>
                  <a:pt x="213" y="131"/>
                  <a:pt x="215" y="132"/>
                </a:cubicBezTo>
                <a:cubicBezTo>
                  <a:pt x="218" y="132"/>
                  <a:pt x="221" y="132"/>
                  <a:pt x="223" y="133"/>
                </a:cubicBezTo>
                <a:cubicBezTo>
                  <a:pt x="225" y="133"/>
                  <a:pt x="227" y="134"/>
                  <a:pt x="229" y="135"/>
                </a:cubicBezTo>
                <a:cubicBezTo>
                  <a:pt x="232" y="135"/>
                  <a:pt x="235" y="136"/>
                  <a:pt x="237" y="137"/>
                </a:cubicBezTo>
                <a:cubicBezTo>
                  <a:pt x="239" y="138"/>
                  <a:pt x="241" y="139"/>
                  <a:pt x="243" y="140"/>
                </a:cubicBezTo>
                <a:cubicBezTo>
                  <a:pt x="245" y="141"/>
                  <a:pt x="247" y="142"/>
                  <a:pt x="249" y="144"/>
                </a:cubicBezTo>
                <a:cubicBezTo>
                  <a:pt x="251" y="145"/>
                  <a:pt x="253" y="147"/>
                  <a:pt x="254" y="148"/>
                </a:cubicBezTo>
                <a:cubicBezTo>
                  <a:pt x="256" y="150"/>
                  <a:pt x="258" y="151"/>
                  <a:pt x="260" y="153"/>
                </a:cubicBezTo>
                <a:cubicBezTo>
                  <a:pt x="262" y="154"/>
                  <a:pt x="263" y="156"/>
                  <a:pt x="265" y="158"/>
                </a:cubicBezTo>
                <a:cubicBezTo>
                  <a:pt x="266" y="160"/>
                  <a:pt x="268" y="162"/>
                  <a:pt x="269" y="164"/>
                </a:cubicBezTo>
                <a:cubicBezTo>
                  <a:pt x="270" y="166"/>
                  <a:pt x="271" y="168"/>
                  <a:pt x="273" y="170"/>
                </a:cubicBezTo>
                <a:cubicBezTo>
                  <a:pt x="274" y="172"/>
                  <a:pt x="275" y="174"/>
                  <a:pt x="276" y="176"/>
                </a:cubicBezTo>
                <a:cubicBezTo>
                  <a:pt x="277" y="179"/>
                  <a:pt x="278" y="182"/>
                  <a:pt x="278" y="185"/>
                </a:cubicBezTo>
                <a:cubicBezTo>
                  <a:pt x="279" y="186"/>
                  <a:pt x="280" y="188"/>
                  <a:pt x="280" y="190"/>
                </a:cubicBezTo>
                <a:cubicBezTo>
                  <a:pt x="281" y="194"/>
                  <a:pt x="281" y="199"/>
                  <a:pt x="281" y="204"/>
                </a:cubicBezTo>
                <a:cubicBezTo>
                  <a:pt x="281" y="209"/>
                  <a:pt x="281" y="214"/>
                  <a:pt x="280" y="21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2" name="Group 31"/>
          <p:cNvGrpSpPr/>
          <p:nvPr/>
        </p:nvGrpSpPr>
        <p:grpSpPr>
          <a:xfrm>
            <a:off x="4438820" y="2330543"/>
            <a:ext cx="972314" cy="1273784"/>
            <a:chOff x="7031038" y="1230313"/>
            <a:chExt cx="3916363" cy="4933950"/>
          </a:xfrm>
          <a:solidFill>
            <a:schemeClr val="bg1">
              <a:lumMod val="65000"/>
            </a:schemeClr>
          </a:solidFill>
        </p:grpSpPr>
        <p:sp>
          <p:nvSpPr>
            <p:cNvPr id="33" name="Freeform 85"/>
            <p:cNvSpPr>
              <a:spLocks noEditPoints="1"/>
            </p:cNvSpPr>
            <p:nvPr/>
          </p:nvSpPr>
          <p:spPr bwMode="auto">
            <a:xfrm>
              <a:off x="7031038" y="1230313"/>
              <a:ext cx="3916363" cy="4933950"/>
            </a:xfrm>
            <a:custGeom>
              <a:avLst/>
              <a:gdLst>
                <a:gd name="T0" fmla="*/ 340 w 4935"/>
                <a:gd name="T1" fmla="*/ 5237 h 6217"/>
                <a:gd name="T2" fmla="*/ 363 w 4935"/>
                <a:gd name="T3" fmla="*/ 5407 h 6217"/>
                <a:gd name="T4" fmla="*/ 427 w 4935"/>
                <a:gd name="T5" fmla="*/ 5561 h 6217"/>
                <a:gd name="T6" fmla="*/ 528 w 4935"/>
                <a:gd name="T7" fmla="*/ 5689 h 6217"/>
                <a:gd name="T8" fmla="*/ 656 w 4935"/>
                <a:gd name="T9" fmla="*/ 5788 h 6217"/>
                <a:gd name="T10" fmla="*/ 808 w 4935"/>
                <a:gd name="T11" fmla="*/ 5852 h 6217"/>
                <a:gd name="T12" fmla="*/ 978 w 4935"/>
                <a:gd name="T13" fmla="*/ 5875 h 6217"/>
                <a:gd name="T14" fmla="*/ 4592 w 4935"/>
                <a:gd name="T15" fmla="*/ 1957 h 6217"/>
                <a:gd name="T16" fmla="*/ 874 w 4935"/>
                <a:gd name="T17" fmla="*/ 1952 h 6217"/>
                <a:gd name="T18" fmla="*/ 679 w 4935"/>
                <a:gd name="T19" fmla="*/ 1910 h 6217"/>
                <a:gd name="T20" fmla="*/ 499 w 4935"/>
                <a:gd name="T21" fmla="*/ 1832 h 6217"/>
                <a:gd name="T22" fmla="*/ 340 w 4935"/>
                <a:gd name="T23" fmla="*/ 1721 h 6217"/>
                <a:gd name="T24" fmla="*/ 4764 w 4935"/>
                <a:gd name="T25" fmla="*/ 0 h 6217"/>
                <a:gd name="T26" fmla="*/ 4840 w 4935"/>
                <a:gd name="T27" fmla="*/ 17 h 6217"/>
                <a:gd name="T28" fmla="*/ 4897 w 4935"/>
                <a:gd name="T29" fmla="*/ 64 h 6217"/>
                <a:gd name="T30" fmla="*/ 4931 w 4935"/>
                <a:gd name="T31" fmla="*/ 130 h 6217"/>
                <a:gd name="T32" fmla="*/ 4931 w 4935"/>
                <a:gd name="T33" fmla="*/ 210 h 6217"/>
                <a:gd name="T34" fmla="*/ 4899 w 4935"/>
                <a:gd name="T35" fmla="*/ 276 h 6217"/>
                <a:gd name="T36" fmla="*/ 4840 w 4935"/>
                <a:gd name="T37" fmla="*/ 323 h 6217"/>
                <a:gd name="T38" fmla="*/ 4764 w 4935"/>
                <a:gd name="T39" fmla="*/ 340 h 6217"/>
                <a:gd name="T40" fmla="*/ 891 w 4935"/>
                <a:gd name="T41" fmla="*/ 346 h 6217"/>
                <a:gd name="T42" fmla="*/ 730 w 4935"/>
                <a:gd name="T43" fmla="*/ 391 h 6217"/>
                <a:gd name="T44" fmla="*/ 588 w 4935"/>
                <a:gd name="T45" fmla="*/ 474 h 6217"/>
                <a:gd name="T46" fmla="*/ 473 w 4935"/>
                <a:gd name="T47" fmla="*/ 590 h 6217"/>
                <a:gd name="T48" fmla="*/ 390 w 4935"/>
                <a:gd name="T49" fmla="*/ 730 h 6217"/>
                <a:gd name="T50" fmla="*/ 346 w 4935"/>
                <a:gd name="T51" fmla="*/ 892 h 6217"/>
                <a:gd name="T52" fmla="*/ 346 w 4935"/>
                <a:gd name="T53" fmla="*/ 1064 h 6217"/>
                <a:gd name="T54" fmla="*/ 390 w 4935"/>
                <a:gd name="T55" fmla="*/ 1225 h 6217"/>
                <a:gd name="T56" fmla="*/ 473 w 4935"/>
                <a:gd name="T57" fmla="*/ 1367 h 6217"/>
                <a:gd name="T58" fmla="*/ 588 w 4935"/>
                <a:gd name="T59" fmla="*/ 1482 h 6217"/>
                <a:gd name="T60" fmla="*/ 730 w 4935"/>
                <a:gd name="T61" fmla="*/ 1566 h 6217"/>
                <a:gd name="T62" fmla="*/ 891 w 4935"/>
                <a:gd name="T63" fmla="*/ 1609 h 6217"/>
                <a:gd name="T64" fmla="*/ 4764 w 4935"/>
                <a:gd name="T65" fmla="*/ 1615 h 6217"/>
                <a:gd name="T66" fmla="*/ 4838 w 4935"/>
                <a:gd name="T67" fmla="*/ 1634 h 6217"/>
                <a:gd name="T68" fmla="*/ 4897 w 4935"/>
                <a:gd name="T69" fmla="*/ 1679 h 6217"/>
                <a:gd name="T70" fmla="*/ 4931 w 4935"/>
                <a:gd name="T71" fmla="*/ 1747 h 6217"/>
                <a:gd name="T72" fmla="*/ 4935 w 4935"/>
                <a:gd name="T73" fmla="*/ 6047 h 6217"/>
                <a:gd name="T74" fmla="*/ 4918 w 4935"/>
                <a:gd name="T75" fmla="*/ 6120 h 6217"/>
                <a:gd name="T76" fmla="*/ 4872 w 4935"/>
                <a:gd name="T77" fmla="*/ 6179 h 6217"/>
                <a:gd name="T78" fmla="*/ 4804 w 4935"/>
                <a:gd name="T79" fmla="*/ 6211 h 6217"/>
                <a:gd name="T80" fmla="*/ 978 w 4935"/>
                <a:gd name="T81" fmla="*/ 6217 h 6217"/>
                <a:gd name="T82" fmla="*/ 768 w 4935"/>
                <a:gd name="T83" fmla="*/ 6194 h 6217"/>
                <a:gd name="T84" fmla="*/ 575 w 4935"/>
                <a:gd name="T85" fmla="*/ 6128 h 6217"/>
                <a:gd name="T86" fmla="*/ 401 w 4935"/>
                <a:gd name="T87" fmla="*/ 6028 h 6217"/>
                <a:gd name="T88" fmla="*/ 252 w 4935"/>
                <a:gd name="T89" fmla="*/ 5893 h 6217"/>
                <a:gd name="T90" fmla="*/ 132 w 4935"/>
                <a:gd name="T91" fmla="*/ 5731 h 6217"/>
                <a:gd name="T92" fmla="*/ 49 w 4935"/>
                <a:gd name="T93" fmla="*/ 5547 h 6217"/>
                <a:gd name="T94" fmla="*/ 6 w 4935"/>
                <a:gd name="T95" fmla="*/ 5345 h 6217"/>
                <a:gd name="T96" fmla="*/ 0 w 4935"/>
                <a:gd name="T97" fmla="*/ 977 h 6217"/>
                <a:gd name="T98" fmla="*/ 23 w 4935"/>
                <a:gd name="T99" fmla="*/ 769 h 6217"/>
                <a:gd name="T100" fmla="*/ 87 w 4935"/>
                <a:gd name="T101" fmla="*/ 575 h 6217"/>
                <a:gd name="T102" fmla="*/ 189 w 4935"/>
                <a:gd name="T103" fmla="*/ 401 h 6217"/>
                <a:gd name="T104" fmla="*/ 323 w 4935"/>
                <a:gd name="T105" fmla="*/ 253 h 6217"/>
                <a:gd name="T106" fmla="*/ 484 w 4935"/>
                <a:gd name="T107" fmla="*/ 134 h 6217"/>
                <a:gd name="T108" fmla="*/ 670 w 4935"/>
                <a:gd name="T109" fmla="*/ 51 h 6217"/>
                <a:gd name="T110" fmla="*/ 872 w 4935"/>
                <a:gd name="T111" fmla="*/ 5 h 6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35" h="6217">
                  <a:moveTo>
                    <a:pt x="340" y="1721"/>
                  </a:moveTo>
                  <a:lnTo>
                    <a:pt x="340" y="5237"/>
                  </a:lnTo>
                  <a:lnTo>
                    <a:pt x="346" y="5324"/>
                  </a:lnTo>
                  <a:lnTo>
                    <a:pt x="363" y="5407"/>
                  </a:lnTo>
                  <a:lnTo>
                    <a:pt x="390" y="5487"/>
                  </a:lnTo>
                  <a:lnTo>
                    <a:pt x="427" y="5561"/>
                  </a:lnTo>
                  <a:lnTo>
                    <a:pt x="473" y="5627"/>
                  </a:lnTo>
                  <a:lnTo>
                    <a:pt x="528" y="5689"/>
                  </a:lnTo>
                  <a:lnTo>
                    <a:pt x="588" y="5742"/>
                  </a:lnTo>
                  <a:lnTo>
                    <a:pt x="656" y="5788"/>
                  </a:lnTo>
                  <a:lnTo>
                    <a:pt x="730" y="5825"/>
                  </a:lnTo>
                  <a:lnTo>
                    <a:pt x="808" y="5852"/>
                  </a:lnTo>
                  <a:lnTo>
                    <a:pt x="891" y="5869"/>
                  </a:lnTo>
                  <a:lnTo>
                    <a:pt x="978" y="5875"/>
                  </a:lnTo>
                  <a:lnTo>
                    <a:pt x="4592" y="5875"/>
                  </a:lnTo>
                  <a:lnTo>
                    <a:pt x="4592" y="1957"/>
                  </a:lnTo>
                  <a:lnTo>
                    <a:pt x="978" y="1957"/>
                  </a:lnTo>
                  <a:lnTo>
                    <a:pt x="874" y="1952"/>
                  </a:lnTo>
                  <a:lnTo>
                    <a:pt x="775" y="1936"/>
                  </a:lnTo>
                  <a:lnTo>
                    <a:pt x="679" y="1910"/>
                  </a:lnTo>
                  <a:lnTo>
                    <a:pt x="586" y="1876"/>
                  </a:lnTo>
                  <a:lnTo>
                    <a:pt x="499" y="1832"/>
                  </a:lnTo>
                  <a:lnTo>
                    <a:pt x="416" y="1779"/>
                  </a:lnTo>
                  <a:lnTo>
                    <a:pt x="340" y="1721"/>
                  </a:lnTo>
                  <a:close/>
                  <a:moveTo>
                    <a:pt x="978" y="0"/>
                  </a:moveTo>
                  <a:lnTo>
                    <a:pt x="4764" y="0"/>
                  </a:lnTo>
                  <a:lnTo>
                    <a:pt x="4804" y="3"/>
                  </a:lnTo>
                  <a:lnTo>
                    <a:pt x="4840" y="17"/>
                  </a:lnTo>
                  <a:lnTo>
                    <a:pt x="4870" y="37"/>
                  </a:lnTo>
                  <a:lnTo>
                    <a:pt x="4897" y="64"/>
                  </a:lnTo>
                  <a:lnTo>
                    <a:pt x="4918" y="94"/>
                  </a:lnTo>
                  <a:lnTo>
                    <a:pt x="4931" y="130"/>
                  </a:lnTo>
                  <a:lnTo>
                    <a:pt x="4935" y="170"/>
                  </a:lnTo>
                  <a:lnTo>
                    <a:pt x="4931" y="210"/>
                  </a:lnTo>
                  <a:lnTo>
                    <a:pt x="4918" y="245"/>
                  </a:lnTo>
                  <a:lnTo>
                    <a:pt x="4899" y="276"/>
                  </a:lnTo>
                  <a:lnTo>
                    <a:pt x="4872" y="302"/>
                  </a:lnTo>
                  <a:lnTo>
                    <a:pt x="4840" y="323"/>
                  </a:lnTo>
                  <a:lnTo>
                    <a:pt x="4804" y="336"/>
                  </a:lnTo>
                  <a:lnTo>
                    <a:pt x="4764" y="340"/>
                  </a:lnTo>
                  <a:lnTo>
                    <a:pt x="978" y="340"/>
                  </a:lnTo>
                  <a:lnTo>
                    <a:pt x="891" y="346"/>
                  </a:lnTo>
                  <a:lnTo>
                    <a:pt x="808" y="363"/>
                  </a:lnTo>
                  <a:lnTo>
                    <a:pt x="730" y="391"/>
                  </a:lnTo>
                  <a:lnTo>
                    <a:pt x="656" y="427"/>
                  </a:lnTo>
                  <a:lnTo>
                    <a:pt x="588" y="474"/>
                  </a:lnTo>
                  <a:lnTo>
                    <a:pt x="528" y="527"/>
                  </a:lnTo>
                  <a:lnTo>
                    <a:pt x="473" y="590"/>
                  </a:lnTo>
                  <a:lnTo>
                    <a:pt x="427" y="656"/>
                  </a:lnTo>
                  <a:lnTo>
                    <a:pt x="390" y="730"/>
                  </a:lnTo>
                  <a:lnTo>
                    <a:pt x="363" y="809"/>
                  </a:lnTo>
                  <a:lnTo>
                    <a:pt x="346" y="892"/>
                  </a:lnTo>
                  <a:lnTo>
                    <a:pt x="340" y="977"/>
                  </a:lnTo>
                  <a:lnTo>
                    <a:pt x="346" y="1064"/>
                  </a:lnTo>
                  <a:lnTo>
                    <a:pt x="363" y="1148"/>
                  </a:lnTo>
                  <a:lnTo>
                    <a:pt x="390" y="1225"/>
                  </a:lnTo>
                  <a:lnTo>
                    <a:pt x="427" y="1299"/>
                  </a:lnTo>
                  <a:lnTo>
                    <a:pt x="473" y="1367"/>
                  </a:lnTo>
                  <a:lnTo>
                    <a:pt x="528" y="1430"/>
                  </a:lnTo>
                  <a:lnTo>
                    <a:pt x="588" y="1482"/>
                  </a:lnTo>
                  <a:lnTo>
                    <a:pt x="656" y="1528"/>
                  </a:lnTo>
                  <a:lnTo>
                    <a:pt x="730" y="1566"/>
                  </a:lnTo>
                  <a:lnTo>
                    <a:pt x="808" y="1592"/>
                  </a:lnTo>
                  <a:lnTo>
                    <a:pt x="891" y="1609"/>
                  </a:lnTo>
                  <a:lnTo>
                    <a:pt x="978" y="1615"/>
                  </a:lnTo>
                  <a:lnTo>
                    <a:pt x="4764" y="1615"/>
                  </a:lnTo>
                  <a:lnTo>
                    <a:pt x="4802" y="1621"/>
                  </a:lnTo>
                  <a:lnTo>
                    <a:pt x="4838" y="1634"/>
                  </a:lnTo>
                  <a:lnTo>
                    <a:pt x="4870" y="1653"/>
                  </a:lnTo>
                  <a:lnTo>
                    <a:pt x="4897" y="1679"/>
                  </a:lnTo>
                  <a:lnTo>
                    <a:pt x="4918" y="1711"/>
                  </a:lnTo>
                  <a:lnTo>
                    <a:pt x="4931" y="1747"/>
                  </a:lnTo>
                  <a:lnTo>
                    <a:pt x="4935" y="1785"/>
                  </a:lnTo>
                  <a:lnTo>
                    <a:pt x="4935" y="6047"/>
                  </a:lnTo>
                  <a:lnTo>
                    <a:pt x="4931" y="6084"/>
                  </a:lnTo>
                  <a:lnTo>
                    <a:pt x="4918" y="6120"/>
                  </a:lnTo>
                  <a:lnTo>
                    <a:pt x="4899" y="6153"/>
                  </a:lnTo>
                  <a:lnTo>
                    <a:pt x="4872" y="6179"/>
                  </a:lnTo>
                  <a:lnTo>
                    <a:pt x="4840" y="6198"/>
                  </a:lnTo>
                  <a:lnTo>
                    <a:pt x="4804" y="6211"/>
                  </a:lnTo>
                  <a:lnTo>
                    <a:pt x="4764" y="6217"/>
                  </a:lnTo>
                  <a:lnTo>
                    <a:pt x="978" y="6217"/>
                  </a:lnTo>
                  <a:lnTo>
                    <a:pt x="872" y="6209"/>
                  </a:lnTo>
                  <a:lnTo>
                    <a:pt x="768" y="6194"/>
                  </a:lnTo>
                  <a:lnTo>
                    <a:pt x="670" y="6166"/>
                  </a:lnTo>
                  <a:lnTo>
                    <a:pt x="575" y="6128"/>
                  </a:lnTo>
                  <a:lnTo>
                    <a:pt x="484" y="6083"/>
                  </a:lnTo>
                  <a:lnTo>
                    <a:pt x="401" y="6028"/>
                  </a:lnTo>
                  <a:lnTo>
                    <a:pt x="323" y="5963"/>
                  </a:lnTo>
                  <a:lnTo>
                    <a:pt x="252" y="5893"/>
                  </a:lnTo>
                  <a:lnTo>
                    <a:pt x="189" y="5816"/>
                  </a:lnTo>
                  <a:lnTo>
                    <a:pt x="132" y="5731"/>
                  </a:lnTo>
                  <a:lnTo>
                    <a:pt x="87" y="5642"/>
                  </a:lnTo>
                  <a:lnTo>
                    <a:pt x="49" y="5547"/>
                  </a:lnTo>
                  <a:lnTo>
                    <a:pt x="23" y="5447"/>
                  </a:lnTo>
                  <a:lnTo>
                    <a:pt x="6" y="5345"/>
                  </a:lnTo>
                  <a:lnTo>
                    <a:pt x="0" y="5237"/>
                  </a:lnTo>
                  <a:lnTo>
                    <a:pt x="0" y="977"/>
                  </a:lnTo>
                  <a:lnTo>
                    <a:pt x="6" y="872"/>
                  </a:lnTo>
                  <a:lnTo>
                    <a:pt x="23" y="769"/>
                  </a:lnTo>
                  <a:lnTo>
                    <a:pt x="49" y="669"/>
                  </a:lnTo>
                  <a:lnTo>
                    <a:pt x="87" y="575"/>
                  </a:lnTo>
                  <a:lnTo>
                    <a:pt x="132" y="486"/>
                  </a:lnTo>
                  <a:lnTo>
                    <a:pt x="189" y="401"/>
                  </a:lnTo>
                  <a:lnTo>
                    <a:pt x="252" y="323"/>
                  </a:lnTo>
                  <a:lnTo>
                    <a:pt x="323" y="253"/>
                  </a:lnTo>
                  <a:lnTo>
                    <a:pt x="401" y="189"/>
                  </a:lnTo>
                  <a:lnTo>
                    <a:pt x="484" y="134"/>
                  </a:lnTo>
                  <a:lnTo>
                    <a:pt x="575" y="87"/>
                  </a:lnTo>
                  <a:lnTo>
                    <a:pt x="670" y="51"/>
                  </a:lnTo>
                  <a:lnTo>
                    <a:pt x="768" y="22"/>
                  </a:lnTo>
                  <a:lnTo>
                    <a:pt x="872" y="5"/>
                  </a:lnTo>
                  <a:lnTo>
                    <a:pt x="978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86"/>
            <p:cNvSpPr>
              <a:spLocks/>
            </p:cNvSpPr>
            <p:nvPr/>
          </p:nvSpPr>
          <p:spPr bwMode="auto">
            <a:xfrm>
              <a:off x="7713663" y="1882776"/>
              <a:ext cx="2809875" cy="269875"/>
            </a:xfrm>
            <a:custGeom>
              <a:avLst/>
              <a:gdLst>
                <a:gd name="T0" fmla="*/ 170 w 3538"/>
                <a:gd name="T1" fmla="*/ 0 h 341"/>
                <a:gd name="T2" fmla="*/ 3368 w 3538"/>
                <a:gd name="T3" fmla="*/ 0 h 341"/>
                <a:gd name="T4" fmla="*/ 3408 w 3538"/>
                <a:gd name="T5" fmla="*/ 6 h 341"/>
                <a:gd name="T6" fmla="*/ 3444 w 3538"/>
                <a:gd name="T7" fmla="*/ 19 h 341"/>
                <a:gd name="T8" fmla="*/ 3474 w 3538"/>
                <a:gd name="T9" fmla="*/ 38 h 341"/>
                <a:gd name="T10" fmla="*/ 3500 w 3538"/>
                <a:gd name="T11" fmla="*/ 65 h 341"/>
                <a:gd name="T12" fmla="*/ 3521 w 3538"/>
                <a:gd name="T13" fmla="*/ 97 h 341"/>
                <a:gd name="T14" fmla="*/ 3535 w 3538"/>
                <a:gd name="T15" fmla="*/ 133 h 341"/>
                <a:gd name="T16" fmla="*/ 3538 w 3538"/>
                <a:gd name="T17" fmla="*/ 171 h 341"/>
                <a:gd name="T18" fmla="*/ 3535 w 3538"/>
                <a:gd name="T19" fmla="*/ 210 h 341"/>
                <a:gd name="T20" fmla="*/ 3521 w 3538"/>
                <a:gd name="T21" fmla="*/ 246 h 341"/>
                <a:gd name="T22" fmla="*/ 3502 w 3538"/>
                <a:gd name="T23" fmla="*/ 278 h 341"/>
                <a:gd name="T24" fmla="*/ 3476 w 3538"/>
                <a:gd name="T25" fmla="*/ 305 h 341"/>
                <a:gd name="T26" fmla="*/ 3444 w 3538"/>
                <a:gd name="T27" fmla="*/ 324 h 341"/>
                <a:gd name="T28" fmla="*/ 3408 w 3538"/>
                <a:gd name="T29" fmla="*/ 337 h 341"/>
                <a:gd name="T30" fmla="*/ 3368 w 3538"/>
                <a:gd name="T31" fmla="*/ 341 h 341"/>
                <a:gd name="T32" fmla="*/ 170 w 3538"/>
                <a:gd name="T33" fmla="*/ 341 h 341"/>
                <a:gd name="T34" fmla="*/ 132 w 3538"/>
                <a:gd name="T35" fmla="*/ 337 h 341"/>
                <a:gd name="T36" fmla="*/ 96 w 3538"/>
                <a:gd name="T37" fmla="*/ 324 h 341"/>
                <a:gd name="T38" fmla="*/ 64 w 3538"/>
                <a:gd name="T39" fmla="*/ 305 h 341"/>
                <a:gd name="T40" fmla="*/ 37 w 3538"/>
                <a:gd name="T41" fmla="*/ 278 h 341"/>
                <a:gd name="T42" fmla="*/ 17 w 3538"/>
                <a:gd name="T43" fmla="*/ 246 h 341"/>
                <a:gd name="T44" fmla="*/ 5 w 3538"/>
                <a:gd name="T45" fmla="*/ 210 h 341"/>
                <a:gd name="T46" fmla="*/ 0 w 3538"/>
                <a:gd name="T47" fmla="*/ 171 h 341"/>
                <a:gd name="T48" fmla="*/ 5 w 3538"/>
                <a:gd name="T49" fmla="*/ 133 h 341"/>
                <a:gd name="T50" fmla="*/ 17 w 3538"/>
                <a:gd name="T51" fmla="*/ 97 h 341"/>
                <a:gd name="T52" fmla="*/ 37 w 3538"/>
                <a:gd name="T53" fmla="*/ 65 h 341"/>
                <a:gd name="T54" fmla="*/ 64 w 3538"/>
                <a:gd name="T55" fmla="*/ 38 h 341"/>
                <a:gd name="T56" fmla="*/ 96 w 3538"/>
                <a:gd name="T57" fmla="*/ 19 h 341"/>
                <a:gd name="T58" fmla="*/ 132 w 3538"/>
                <a:gd name="T59" fmla="*/ 6 h 341"/>
                <a:gd name="T60" fmla="*/ 170 w 3538"/>
                <a:gd name="T61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538" h="341">
                  <a:moveTo>
                    <a:pt x="170" y="0"/>
                  </a:moveTo>
                  <a:lnTo>
                    <a:pt x="3368" y="0"/>
                  </a:lnTo>
                  <a:lnTo>
                    <a:pt x="3408" y="6"/>
                  </a:lnTo>
                  <a:lnTo>
                    <a:pt x="3444" y="19"/>
                  </a:lnTo>
                  <a:lnTo>
                    <a:pt x="3474" y="38"/>
                  </a:lnTo>
                  <a:lnTo>
                    <a:pt x="3500" y="65"/>
                  </a:lnTo>
                  <a:lnTo>
                    <a:pt x="3521" y="97"/>
                  </a:lnTo>
                  <a:lnTo>
                    <a:pt x="3535" y="133"/>
                  </a:lnTo>
                  <a:lnTo>
                    <a:pt x="3538" y="171"/>
                  </a:lnTo>
                  <a:lnTo>
                    <a:pt x="3535" y="210"/>
                  </a:lnTo>
                  <a:lnTo>
                    <a:pt x="3521" y="246"/>
                  </a:lnTo>
                  <a:lnTo>
                    <a:pt x="3502" y="278"/>
                  </a:lnTo>
                  <a:lnTo>
                    <a:pt x="3476" y="305"/>
                  </a:lnTo>
                  <a:lnTo>
                    <a:pt x="3444" y="324"/>
                  </a:lnTo>
                  <a:lnTo>
                    <a:pt x="3408" y="337"/>
                  </a:lnTo>
                  <a:lnTo>
                    <a:pt x="3368" y="341"/>
                  </a:lnTo>
                  <a:lnTo>
                    <a:pt x="170" y="341"/>
                  </a:lnTo>
                  <a:lnTo>
                    <a:pt x="132" y="337"/>
                  </a:lnTo>
                  <a:lnTo>
                    <a:pt x="96" y="324"/>
                  </a:lnTo>
                  <a:lnTo>
                    <a:pt x="64" y="305"/>
                  </a:lnTo>
                  <a:lnTo>
                    <a:pt x="37" y="278"/>
                  </a:lnTo>
                  <a:lnTo>
                    <a:pt x="17" y="246"/>
                  </a:lnTo>
                  <a:lnTo>
                    <a:pt x="5" y="210"/>
                  </a:lnTo>
                  <a:lnTo>
                    <a:pt x="0" y="171"/>
                  </a:lnTo>
                  <a:lnTo>
                    <a:pt x="5" y="133"/>
                  </a:lnTo>
                  <a:lnTo>
                    <a:pt x="17" y="97"/>
                  </a:lnTo>
                  <a:lnTo>
                    <a:pt x="37" y="65"/>
                  </a:lnTo>
                  <a:lnTo>
                    <a:pt x="64" y="38"/>
                  </a:lnTo>
                  <a:lnTo>
                    <a:pt x="96" y="19"/>
                  </a:lnTo>
                  <a:lnTo>
                    <a:pt x="132" y="6"/>
                  </a:lnTo>
                  <a:lnTo>
                    <a:pt x="17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87"/>
            <p:cNvSpPr>
              <a:spLocks noEditPoints="1"/>
            </p:cNvSpPr>
            <p:nvPr/>
          </p:nvSpPr>
          <p:spPr bwMode="auto">
            <a:xfrm>
              <a:off x="8234363" y="3311526"/>
              <a:ext cx="1504950" cy="1998663"/>
            </a:xfrm>
            <a:custGeom>
              <a:avLst/>
              <a:gdLst>
                <a:gd name="T0" fmla="*/ 1237 w 1895"/>
                <a:gd name="T1" fmla="*/ 1487 h 2520"/>
                <a:gd name="T2" fmla="*/ 955 w 1895"/>
                <a:gd name="T3" fmla="*/ 0 h 2520"/>
                <a:gd name="T4" fmla="*/ 964 w 1895"/>
                <a:gd name="T5" fmla="*/ 2 h 2520"/>
                <a:gd name="T6" fmla="*/ 976 w 1895"/>
                <a:gd name="T7" fmla="*/ 4 h 2520"/>
                <a:gd name="T8" fmla="*/ 985 w 1895"/>
                <a:gd name="T9" fmla="*/ 6 h 2520"/>
                <a:gd name="T10" fmla="*/ 1006 w 1895"/>
                <a:gd name="T11" fmla="*/ 12 h 2520"/>
                <a:gd name="T12" fmla="*/ 1029 w 1895"/>
                <a:gd name="T13" fmla="*/ 21 h 2520"/>
                <a:gd name="T14" fmla="*/ 1044 w 1895"/>
                <a:gd name="T15" fmla="*/ 30 h 2520"/>
                <a:gd name="T16" fmla="*/ 1053 w 1895"/>
                <a:gd name="T17" fmla="*/ 38 h 2520"/>
                <a:gd name="T18" fmla="*/ 1061 w 1895"/>
                <a:gd name="T19" fmla="*/ 44 h 2520"/>
                <a:gd name="T20" fmla="*/ 1070 w 1895"/>
                <a:gd name="T21" fmla="*/ 55 h 2520"/>
                <a:gd name="T22" fmla="*/ 1078 w 1895"/>
                <a:gd name="T23" fmla="*/ 61 h 2520"/>
                <a:gd name="T24" fmla="*/ 1084 w 1895"/>
                <a:gd name="T25" fmla="*/ 68 h 2520"/>
                <a:gd name="T26" fmla="*/ 1091 w 1895"/>
                <a:gd name="T27" fmla="*/ 76 h 2520"/>
                <a:gd name="T28" fmla="*/ 1095 w 1895"/>
                <a:gd name="T29" fmla="*/ 85 h 2520"/>
                <a:gd name="T30" fmla="*/ 1106 w 1895"/>
                <a:gd name="T31" fmla="*/ 108 h 2520"/>
                <a:gd name="T32" fmla="*/ 1895 w 1895"/>
                <a:gd name="T33" fmla="*/ 2330 h 2520"/>
                <a:gd name="T34" fmla="*/ 1870 w 1895"/>
                <a:gd name="T35" fmla="*/ 2438 h 2520"/>
                <a:gd name="T36" fmla="*/ 1783 w 1895"/>
                <a:gd name="T37" fmla="*/ 2508 h 2520"/>
                <a:gd name="T38" fmla="*/ 1691 w 1895"/>
                <a:gd name="T39" fmla="*/ 2516 h 2520"/>
                <a:gd name="T40" fmla="*/ 1602 w 1895"/>
                <a:gd name="T41" fmla="*/ 2467 h 2520"/>
                <a:gd name="T42" fmla="*/ 1358 w 1895"/>
                <a:gd name="T43" fmla="*/ 1825 h 2520"/>
                <a:gd name="T44" fmla="*/ 1337 w 1895"/>
                <a:gd name="T45" fmla="*/ 1827 h 2520"/>
                <a:gd name="T46" fmla="*/ 316 w 1895"/>
                <a:gd name="T47" fmla="*/ 2438 h 2520"/>
                <a:gd name="T48" fmla="*/ 238 w 1895"/>
                <a:gd name="T49" fmla="*/ 2506 h 2520"/>
                <a:gd name="T50" fmla="*/ 142 w 1895"/>
                <a:gd name="T51" fmla="*/ 2516 h 2520"/>
                <a:gd name="T52" fmla="*/ 49 w 1895"/>
                <a:gd name="T53" fmla="*/ 2467 h 2520"/>
                <a:gd name="T54" fmla="*/ 0 w 1895"/>
                <a:gd name="T55" fmla="*/ 2366 h 2520"/>
                <a:gd name="T56" fmla="*/ 785 w 1895"/>
                <a:gd name="T57" fmla="*/ 116 h 2520"/>
                <a:gd name="T58" fmla="*/ 796 w 1895"/>
                <a:gd name="T59" fmla="*/ 91 h 2520"/>
                <a:gd name="T60" fmla="*/ 806 w 1895"/>
                <a:gd name="T61" fmla="*/ 76 h 2520"/>
                <a:gd name="T62" fmla="*/ 811 w 1895"/>
                <a:gd name="T63" fmla="*/ 68 h 2520"/>
                <a:gd name="T64" fmla="*/ 819 w 1895"/>
                <a:gd name="T65" fmla="*/ 61 h 2520"/>
                <a:gd name="T66" fmla="*/ 836 w 1895"/>
                <a:gd name="T67" fmla="*/ 42 h 2520"/>
                <a:gd name="T68" fmla="*/ 845 w 1895"/>
                <a:gd name="T69" fmla="*/ 34 h 2520"/>
                <a:gd name="T70" fmla="*/ 855 w 1895"/>
                <a:gd name="T71" fmla="*/ 29 h 2520"/>
                <a:gd name="T72" fmla="*/ 868 w 1895"/>
                <a:gd name="T73" fmla="*/ 21 h 2520"/>
                <a:gd name="T74" fmla="*/ 891 w 1895"/>
                <a:gd name="T75" fmla="*/ 12 h 2520"/>
                <a:gd name="T76" fmla="*/ 906 w 1895"/>
                <a:gd name="T77" fmla="*/ 8 h 2520"/>
                <a:gd name="T78" fmla="*/ 911 w 1895"/>
                <a:gd name="T79" fmla="*/ 6 h 2520"/>
                <a:gd name="T80" fmla="*/ 923 w 1895"/>
                <a:gd name="T81" fmla="*/ 4 h 2520"/>
                <a:gd name="T82" fmla="*/ 934 w 1895"/>
                <a:gd name="T83" fmla="*/ 2 h 2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95" h="2520">
                  <a:moveTo>
                    <a:pt x="949" y="679"/>
                  </a:moveTo>
                  <a:lnTo>
                    <a:pt x="660" y="1487"/>
                  </a:lnTo>
                  <a:lnTo>
                    <a:pt x="1237" y="1487"/>
                  </a:lnTo>
                  <a:lnTo>
                    <a:pt x="949" y="679"/>
                  </a:lnTo>
                  <a:close/>
                  <a:moveTo>
                    <a:pt x="940" y="0"/>
                  </a:moveTo>
                  <a:lnTo>
                    <a:pt x="955" y="0"/>
                  </a:lnTo>
                  <a:lnTo>
                    <a:pt x="959" y="2"/>
                  </a:lnTo>
                  <a:lnTo>
                    <a:pt x="963" y="2"/>
                  </a:lnTo>
                  <a:lnTo>
                    <a:pt x="964" y="2"/>
                  </a:lnTo>
                  <a:lnTo>
                    <a:pt x="968" y="4"/>
                  </a:lnTo>
                  <a:lnTo>
                    <a:pt x="972" y="4"/>
                  </a:lnTo>
                  <a:lnTo>
                    <a:pt x="976" y="4"/>
                  </a:lnTo>
                  <a:lnTo>
                    <a:pt x="980" y="6"/>
                  </a:lnTo>
                  <a:lnTo>
                    <a:pt x="983" y="6"/>
                  </a:lnTo>
                  <a:lnTo>
                    <a:pt x="985" y="6"/>
                  </a:lnTo>
                  <a:lnTo>
                    <a:pt x="989" y="8"/>
                  </a:lnTo>
                  <a:lnTo>
                    <a:pt x="1004" y="12"/>
                  </a:lnTo>
                  <a:lnTo>
                    <a:pt x="1006" y="12"/>
                  </a:lnTo>
                  <a:lnTo>
                    <a:pt x="1014" y="13"/>
                  </a:lnTo>
                  <a:lnTo>
                    <a:pt x="1021" y="17"/>
                  </a:lnTo>
                  <a:lnTo>
                    <a:pt x="1029" y="21"/>
                  </a:lnTo>
                  <a:lnTo>
                    <a:pt x="1036" y="25"/>
                  </a:lnTo>
                  <a:lnTo>
                    <a:pt x="1040" y="29"/>
                  </a:lnTo>
                  <a:lnTo>
                    <a:pt x="1044" y="30"/>
                  </a:lnTo>
                  <a:lnTo>
                    <a:pt x="1048" y="32"/>
                  </a:lnTo>
                  <a:lnTo>
                    <a:pt x="1050" y="34"/>
                  </a:lnTo>
                  <a:lnTo>
                    <a:pt x="1053" y="38"/>
                  </a:lnTo>
                  <a:lnTo>
                    <a:pt x="1057" y="40"/>
                  </a:lnTo>
                  <a:lnTo>
                    <a:pt x="1059" y="44"/>
                  </a:lnTo>
                  <a:lnTo>
                    <a:pt x="1061" y="44"/>
                  </a:lnTo>
                  <a:lnTo>
                    <a:pt x="1063" y="46"/>
                  </a:lnTo>
                  <a:lnTo>
                    <a:pt x="1068" y="51"/>
                  </a:lnTo>
                  <a:lnTo>
                    <a:pt x="1070" y="55"/>
                  </a:lnTo>
                  <a:lnTo>
                    <a:pt x="1074" y="57"/>
                  </a:lnTo>
                  <a:lnTo>
                    <a:pt x="1074" y="59"/>
                  </a:lnTo>
                  <a:lnTo>
                    <a:pt x="1078" y="61"/>
                  </a:lnTo>
                  <a:lnTo>
                    <a:pt x="1078" y="63"/>
                  </a:lnTo>
                  <a:lnTo>
                    <a:pt x="1080" y="64"/>
                  </a:lnTo>
                  <a:lnTo>
                    <a:pt x="1084" y="68"/>
                  </a:lnTo>
                  <a:lnTo>
                    <a:pt x="1087" y="72"/>
                  </a:lnTo>
                  <a:lnTo>
                    <a:pt x="1089" y="74"/>
                  </a:lnTo>
                  <a:lnTo>
                    <a:pt x="1091" y="76"/>
                  </a:lnTo>
                  <a:lnTo>
                    <a:pt x="1091" y="80"/>
                  </a:lnTo>
                  <a:lnTo>
                    <a:pt x="1093" y="83"/>
                  </a:lnTo>
                  <a:lnTo>
                    <a:pt x="1095" y="85"/>
                  </a:lnTo>
                  <a:lnTo>
                    <a:pt x="1099" y="93"/>
                  </a:lnTo>
                  <a:lnTo>
                    <a:pt x="1103" y="100"/>
                  </a:lnTo>
                  <a:lnTo>
                    <a:pt x="1106" y="108"/>
                  </a:lnTo>
                  <a:lnTo>
                    <a:pt x="1110" y="116"/>
                  </a:lnTo>
                  <a:lnTo>
                    <a:pt x="1886" y="2291"/>
                  </a:lnTo>
                  <a:lnTo>
                    <a:pt x="1895" y="2330"/>
                  </a:lnTo>
                  <a:lnTo>
                    <a:pt x="1895" y="2368"/>
                  </a:lnTo>
                  <a:lnTo>
                    <a:pt x="1886" y="2404"/>
                  </a:lnTo>
                  <a:lnTo>
                    <a:pt x="1870" y="2438"/>
                  </a:lnTo>
                  <a:lnTo>
                    <a:pt x="1848" y="2467"/>
                  </a:lnTo>
                  <a:lnTo>
                    <a:pt x="1817" y="2491"/>
                  </a:lnTo>
                  <a:lnTo>
                    <a:pt x="1783" y="2508"/>
                  </a:lnTo>
                  <a:lnTo>
                    <a:pt x="1755" y="2516"/>
                  </a:lnTo>
                  <a:lnTo>
                    <a:pt x="1725" y="2520"/>
                  </a:lnTo>
                  <a:lnTo>
                    <a:pt x="1691" y="2516"/>
                  </a:lnTo>
                  <a:lnTo>
                    <a:pt x="1659" y="2506"/>
                  </a:lnTo>
                  <a:lnTo>
                    <a:pt x="1628" y="2489"/>
                  </a:lnTo>
                  <a:lnTo>
                    <a:pt x="1602" y="2467"/>
                  </a:lnTo>
                  <a:lnTo>
                    <a:pt x="1581" y="2438"/>
                  </a:lnTo>
                  <a:lnTo>
                    <a:pt x="1566" y="2406"/>
                  </a:lnTo>
                  <a:lnTo>
                    <a:pt x="1358" y="1825"/>
                  </a:lnTo>
                  <a:lnTo>
                    <a:pt x="1352" y="1827"/>
                  </a:lnTo>
                  <a:lnTo>
                    <a:pt x="1345" y="1827"/>
                  </a:lnTo>
                  <a:lnTo>
                    <a:pt x="1337" y="1827"/>
                  </a:lnTo>
                  <a:lnTo>
                    <a:pt x="539" y="1827"/>
                  </a:lnTo>
                  <a:lnTo>
                    <a:pt x="331" y="2406"/>
                  </a:lnTo>
                  <a:lnTo>
                    <a:pt x="316" y="2438"/>
                  </a:lnTo>
                  <a:lnTo>
                    <a:pt x="295" y="2467"/>
                  </a:lnTo>
                  <a:lnTo>
                    <a:pt x="268" y="2489"/>
                  </a:lnTo>
                  <a:lnTo>
                    <a:pt x="238" y="2506"/>
                  </a:lnTo>
                  <a:lnTo>
                    <a:pt x="206" y="2516"/>
                  </a:lnTo>
                  <a:lnTo>
                    <a:pt x="172" y="2520"/>
                  </a:lnTo>
                  <a:lnTo>
                    <a:pt x="142" y="2516"/>
                  </a:lnTo>
                  <a:lnTo>
                    <a:pt x="113" y="2508"/>
                  </a:lnTo>
                  <a:lnTo>
                    <a:pt x="77" y="2491"/>
                  </a:lnTo>
                  <a:lnTo>
                    <a:pt x="49" y="2467"/>
                  </a:lnTo>
                  <a:lnTo>
                    <a:pt x="26" y="2438"/>
                  </a:lnTo>
                  <a:lnTo>
                    <a:pt x="9" y="2404"/>
                  </a:lnTo>
                  <a:lnTo>
                    <a:pt x="0" y="2366"/>
                  </a:lnTo>
                  <a:lnTo>
                    <a:pt x="0" y="2329"/>
                  </a:lnTo>
                  <a:lnTo>
                    <a:pt x="7" y="2291"/>
                  </a:lnTo>
                  <a:lnTo>
                    <a:pt x="785" y="116"/>
                  </a:lnTo>
                  <a:lnTo>
                    <a:pt x="789" y="108"/>
                  </a:lnTo>
                  <a:lnTo>
                    <a:pt x="792" y="100"/>
                  </a:lnTo>
                  <a:lnTo>
                    <a:pt x="796" y="91"/>
                  </a:lnTo>
                  <a:lnTo>
                    <a:pt x="800" y="83"/>
                  </a:lnTo>
                  <a:lnTo>
                    <a:pt x="802" y="80"/>
                  </a:lnTo>
                  <a:lnTo>
                    <a:pt x="806" y="76"/>
                  </a:lnTo>
                  <a:lnTo>
                    <a:pt x="807" y="74"/>
                  </a:lnTo>
                  <a:lnTo>
                    <a:pt x="809" y="72"/>
                  </a:lnTo>
                  <a:lnTo>
                    <a:pt x="811" y="68"/>
                  </a:lnTo>
                  <a:lnTo>
                    <a:pt x="815" y="64"/>
                  </a:lnTo>
                  <a:lnTo>
                    <a:pt x="817" y="63"/>
                  </a:lnTo>
                  <a:lnTo>
                    <a:pt x="819" y="61"/>
                  </a:lnTo>
                  <a:lnTo>
                    <a:pt x="821" y="59"/>
                  </a:lnTo>
                  <a:lnTo>
                    <a:pt x="834" y="46"/>
                  </a:lnTo>
                  <a:lnTo>
                    <a:pt x="836" y="42"/>
                  </a:lnTo>
                  <a:lnTo>
                    <a:pt x="838" y="40"/>
                  </a:lnTo>
                  <a:lnTo>
                    <a:pt x="842" y="38"/>
                  </a:lnTo>
                  <a:lnTo>
                    <a:pt x="845" y="34"/>
                  </a:lnTo>
                  <a:lnTo>
                    <a:pt x="849" y="32"/>
                  </a:lnTo>
                  <a:lnTo>
                    <a:pt x="851" y="30"/>
                  </a:lnTo>
                  <a:lnTo>
                    <a:pt x="855" y="29"/>
                  </a:lnTo>
                  <a:lnTo>
                    <a:pt x="857" y="27"/>
                  </a:lnTo>
                  <a:lnTo>
                    <a:pt x="860" y="25"/>
                  </a:lnTo>
                  <a:lnTo>
                    <a:pt x="868" y="21"/>
                  </a:lnTo>
                  <a:lnTo>
                    <a:pt x="876" y="17"/>
                  </a:lnTo>
                  <a:lnTo>
                    <a:pt x="883" y="13"/>
                  </a:lnTo>
                  <a:lnTo>
                    <a:pt x="891" y="12"/>
                  </a:lnTo>
                  <a:lnTo>
                    <a:pt x="893" y="12"/>
                  </a:lnTo>
                  <a:lnTo>
                    <a:pt x="898" y="10"/>
                  </a:lnTo>
                  <a:lnTo>
                    <a:pt x="906" y="8"/>
                  </a:lnTo>
                  <a:lnTo>
                    <a:pt x="908" y="8"/>
                  </a:lnTo>
                  <a:lnTo>
                    <a:pt x="910" y="6"/>
                  </a:lnTo>
                  <a:lnTo>
                    <a:pt x="911" y="6"/>
                  </a:lnTo>
                  <a:lnTo>
                    <a:pt x="915" y="4"/>
                  </a:lnTo>
                  <a:lnTo>
                    <a:pt x="919" y="4"/>
                  </a:lnTo>
                  <a:lnTo>
                    <a:pt x="923" y="4"/>
                  </a:lnTo>
                  <a:lnTo>
                    <a:pt x="927" y="2"/>
                  </a:lnTo>
                  <a:lnTo>
                    <a:pt x="930" y="2"/>
                  </a:lnTo>
                  <a:lnTo>
                    <a:pt x="934" y="2"/>
                  </a:lnTo>
                  <a:lnTo>
                    <a:pt x="936" y="0"/>
                  </a:lnTo>
                  <a:lnTo>
                    <a:pt x="94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5232" y="2195798"/>
            <a:ext cx="1553197" cy="1553197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3891735" y="4577882"/>
            <a:ext cx="21307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itt County School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497829" y="4583225"/>
            <a:ext cx="210332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ocal Business &amp; Industry</a:t>
            </a:r>
          </a:p>
        </p:txBody>
      </p:sp>
    </p:spTree>
    <p:extLst>
      <p:ext uri="{BB962C8B-B14F-4D97-AF65-F5344CB8AC3E}">
        <p14:creationId xmlns:p14="http://schemas.microsoft.com/office/powerpoint/2010/main" val="222543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9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9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65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9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9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50"/>
                            </p:stCondLst>
                            <p:childTnLst>
                              <p:par>
                                <p:cTn id="20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50"/>
                            </p:stCondLst>
                            <p:childTnLst>
                              <p:par>
                                <p:cTn id="2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80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30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800"/>
                            </p:stCondLst>
                            <p:childTnLst>
                              <p:par>
                                <p:cTn id="3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44" grpId="0"/>
      <p:bldP spid="45" grpId="0"/>
      <p:bldP spid="34" grpId="0"/>
      <p:bldP spid="3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10820400" cy="769441"/>
          </a:xfrm>
        </p:spPr>
        <p:txBody>
          <a:bodyPr/>
          <a:lstStyle/>
          <a:p>
            <a:r>
              <a:rPr lang="en-IN" sz="4400" dirty="0" smtClean="0"/>
              <a:t>Connecting the Dots</a:t>
            </a:r>
            <a:endParaRPr lang="en-IN" sz="4400" dirty="0"/>
          </a:p>
        </p:txBody>
      </p:sp>
      <p:sp>
        <p:nvSpPr>
          <p:cNvPr id="523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930923"/>
            <a:ext cx="10820400" cy="307777"/>
          </a:xfrm>
        </p:spPr>
        <p:txBody>
          <a:bodyPr>
            <a:normAutofit fontScale="92500" lnSpcReduction="20000"/>
          </a:bodyPr>
          <a:lstStyle/>
          <a:p>
            <a:r>
              <a:rPr lang="en-IN" sz="2000" dirty="0" smtClean="0"/>
              <a:t>Using our Partnerships &amp; Resources</a:t>
            </a:r>
            <a:endParaRPr lang="en-IN" sz="2000" dirty="0"/>
          </a:p>
        </p:txBody>
      </p:sp>
      <p:grpSp>
        <p:nvGrpSpPr>
          <p:cNvPr id="524" name="Group 523">
            <a:extLst>
              <a:ext uri="{FF2B5EF4-FFF2-40B4-BE49-F238E27FC236}">
                <a16:creationId xmlns:a16="http://schemas.microsoft.com/office/drawing/2014/main" id="{26F185CC-70E3-4834-8A3A-31E3C080C710}"/>
              </a:ext>
            </a:extLst>
          </p:cNvPr>
          <p:cNvGrpSpPr/>
          <p:nvPr/>
        </p:nvGrpSpPr>
        <p:grpSpPr>
          <a:xfrm>
            <a:off x="5156723" y="1335313"/>
            <a:ext cx="6071714" cy="4863619"/>
            <a:chOff x="6120960" y="1333500"/>
            <a:chExt cx="5270940" cy="3976553"/>
          </a:xfrm>
        </p:grpSpPr>
        <p:grpSp>
          <p:nvGrpSpPr>
            <p:cNvPr id="525" name="Group 524">
              <a:extLst>
                <a:ext uri="{FF2B5EF4-FFF2-40B4-BE49-F238E27FC236}">
                  <a16:creationId xmlns:a16="http://schemas.microsoft.com/office/drawing/2014/main" id="{964EBEAF-D2AB-4312-B506-855C1B554AA1}"/>
                </a:ext>
              </a:extLst>
            </p:cNvPr>
            <p:cNvGrpSpPr/>
            <p:nvPr/>
          </p:nvGrpSpPr>
          <p:grpSpPr>
            <a:xfrm>
              <a:off x="6132357" y="1333500"/>
              <a:ext cx="5250340" cy="3972061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545D7EE6-B447-49F7-9DFF-1F03F612BA2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D3F6ECF3-18BE-40A0-B6CC-2E89DCD1C5C1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C186B60B-C496-4C3A-B3F0-1A78444E3B8F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77E786F1-DF2B-4EEE-A9D3-84597398E2F0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B3FC957E-AA5B-4AA5-B59C-25AD4C01E39C}"/>
                </a:ext>
              </a:extLst>
            </p:cNvPr>
            <p:cNvSpPr/>
            <p:nvPr/>
          </p:nvSpPr>
          <p:spPr>
            <a:xfrm>
              <a:off x="6120960" y="2395787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73AF51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6688AF5A-C0F0-4F00-A6F2-C1483A884702}"/>
              </a:ext>
            </a:extLst>
          </p:cNvPr>
          <p:cNvGrpSpPr/>
          <p:nvPr/>
        </p:nvGrpSpPr>
        <p:grpSpPr>
          <a:xfrm>
            <a:off x="4169740" y="2881447"/>
            <a:ext cx="5270940" cy="3976553"/>
            <a:chOff x="5193218" y="2184277"/>
            <a:chExt cx="5270940" cy="3976553"/>
          </a:xfrm>
        </p:grpSpPr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7EA3EB79-CB31-46F6-9CCE-B5D8ADECDBDE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E0266CA8-1D63-4F85-ACA8-95531A36B99C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45093B62-7F1C-4365-A63B-BFD018B53733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id="{869FB1C4-0266-4C62-A8D5-17CAB1391A92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67CA104B-41B0-45ED-A5D6-4A8A110A18CA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D69199D3-FE4F-4A87-99F3-6D0D5BC515E8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7647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:a16="http://schemas.microsoft.com/office/drawing/2014/main" id="{055F2BDE-8594-46F2-B963-85C9FD683A7C}"/>
              </a:ext>
            </a:extLst>
          </p:cNvPr>
          <p:cNvGrpSpPr/>
          <p:nvPr/>
        </p:nvGrpSpPr>
        <p:grpSpPr>
          <a:xfrm>
            <a:off x="3669992" y="3622074"/>
            <a:ext cx="4289236" cy="3235926"/>
            <a:chOff x="5193218" y="2184277"/>
            <a:chExt cx="5270940" cy="3976553"/>
          </a:xfrm>
        </p:grpSpPr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id="{2072E37B-53F2-4A34-8BA7-39B254E7BC9B}"/>
                </a:ext>
              </a:extLst>
            </p:cNvPr>
            <p:cNvGrpSpPr/>
            <p:nvPr/>
          </p:nvGrpSpPr>
          <p:grpSpPr>
            <a:xfrm>
              <a:off x="5204615" y="2184277"/>
              <a:ext cx="5250340" cy="3972062"/>
              <a:chOff x="-961382" y="1846733"/>
              <a:chExt cx="3856780" cy="3318276"/>
            </a:xfrm>
            <a:solidFill>
              <a:schemeClr val="bg1">
                <a:lumMod val="75000"/>
              </a:schemeClr>
            </a:solidFill>
          </p:grpSpPr>
          <p:sp>
            <p:nvSpPr>
              <p:cNvPr id="541" name="Freeform: Shape 540">
                <a:extLst>
                  <a:ext uri="{FF2B5EF4-FFF2-40B4-BE49-F238E27FC236}">
                    <a16:creationId xmlns:a16="http://schemas.microsoft.com/office/drawing/2014/main" id="{C265C260-9FF9-447D-AED0-9C165C0F4EC6}"/>
                  </a:ext>
                </a:extLst>
              </p:cNvPr>
              <p:cNvSpPr/>
              <p:nvPr/>
            </p:nvSpPr>
            <p:spPr>
              <a:xfrm>
                <a:off x="967226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2" name="Freeform: Shape 541">
                <a:extLst>
                  <a:ext uri="{FF2B5EF4-FFF2-40B4-BE49-F238E27FC236}">
                    <a16:creationId xmlns:a16="http://schemas.microsoft.com/office/drawing/2014/main" id="{37D12856-0B90-4FA7-B810-4337A269A55F}"/>
                  </a:ext>
                </a:extLst>
              </p:cNvPr>
              <p:cNvSpPr/>
              <p:nvPr/>
            </p:nvSpPr>
            <p:spPr>
              <a:xfrm>
                <a:off x="968583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3" name="Freeform: Shape 542">
                <a:extLst>
                  <a:ext uri="{FF2B5EF4-FFF2-40B4-BE49-F238E27FC236}">
                    <a16:creationId xmlns:a16="http://schemas.microsoft.com/office/drawing/2014/main" id="{D6DD3657-A404-440E-9FCB-F335B95CED3E}"/>
                  </a:ext>
                </a:extLst>
              </p:cNvPr>
              <p:cNvSpPr/>
              <p:nvPr/>
            </p:nvSpPr>
            <p:spPr>
              <a:xfrm flipH="1">
                <a:off x="-212820" y="1850553"/>
                <a:ext cx="1179610" cy="3314456"/>
              </a:xfrm>
              <a:custGeom>
                <a:avLst/>
                <a:gdLst>
                  <a:gd name="connsiteX0" fmla="*/ 1356 w 1179610"/>
                  <a:gd name="connsiteY0" fmla="*/ 0 h 3314456"/>
                  <a:gd name="connsiteX1" fmla="*/ 1179610 w 1179610"/>
                  <a:gd name="connsiteY1" fmla="*/ 3308065 h 3314456"/>
                  <a:gd name="connsiteX2" fmla="*/ 2510 w 1179610"/>
                  <a:gd name="connsiteY2" fmla="*/ 3314456 h 3314456"/>
                  <a:gd name="connsiteX3" fmla="*/ 1253 w 1179610"/>
                  <a:gd name="connsiteY3" fmla="*/ 1655318 h 3314456"/>
                  <a:gd name="connsiteX4" fmla="*/ 0 w 1179610"/>
                  <a:gd name="connsiteY4" fmla="*/ 2338 h 3314456"/>
                  <a:gd name="connsiteX5" fmla="*/ 1356 w 1179610"/>
                  <a:gd name="connsiteY5" fmla="*/ 0 h 331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79610" h="3314456">
                    <a:moveTo>
                      <a:pt x="1356" y="0"/>
                    </a:moveTo>
                    <a:lnTo>
                      <a:pt x="1179610" y="3308065"/>
                    </a:lnTo>
                    <a:lnTo>
                      <a:pt x="2510" y="3314456"/>
                    </a:lnTo>
                    <a:cubicBezTo>
                      <a:pt x="1027" y="2764606"/>
                      <a:pt x="1140" y="2209962"/>
                      <a:pt x="1253" y="1655318"/>
                    </a:cubicBezTo>
                    <a:lnTo>
                      <a:pt x="0" y="2338"/>
                    </a:lnTo>
                    <a:lnTo>
                      <a:pt x="1356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  <p:sp>
            <p:nvSpPr>
              <p:cNvPr id="544" name="Freeform: Shape 543">
                <a:extLst>
                  <a:ext uri="{FF2B5EF4-FFF2-40B4-BE49-F238E27FC236}">
                    <a16:creationId xmlns:a16="http://schemas.microsoft.com/office/drawing/2014/main" id="{C47DD0A8-E120-4AC1-81A1-63891582593B}"/>
                  </a:ext>
                </a:extLst>
              </p:cNvPr>
              <p:cNvSpPr/>
              <p:nvPr/>
            </p:nvSpPr>
            <p:spPr>
              <a:xfrm flipH="1">
                <a:off x="-961382" y="1846733"/>
                <a:ext cx="1926815" cy="3318276"/>
              </a:xfrm>
              <a:custGeom>
                <a:avLst/>
                <a:gdLst>
                  <a:gd name="connsiteX0" fmla="*/ 2215 w 1926815"/>
                  <a:gd name="connsiteY0" fmla="*/ 0 h 3318276"/>
                  <a:gd name="connsiteX1" fmla="*/ 1926815 w 1926815"/>
                  <a:gd name="connsiteY1" fmla="*/ 3318276 h 3318276"/>
                  <a:gd name="connsiteX2" fmla="*/ 1154 w 1926815"/>
                  <a:gd name="connsiteY2" fmla="*/ 3318276 h 3318276"/>
                  <a:gd name="connsiteX3" fmla="*/ 1178254 w 1926815"/>
                  <a:gd name="connsiteY3" fmla="*/ 3311885 h 3318276"/>
                  <a:gd name="connsiteX4" fmla="*/ 0 w 1926815"/>
                  <a:gd name="connsiteY4" fmla="*/ 3820 h 3318276"/>
                  <a:gd name="connsiteX5" fmla="*/ 2215 w 1926815"/>
                  <a:gd name="connsiteY5" fmla="*/ 0 h 3318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26815" h="3318276">
                    <a:moveTo>
                      <a:pt x="2215" y="0"/>
                    </a:moveTo>
                    <a:lnTo>
                      <a:pt x="1926815" y="3318276"/>
                    </a:lnTo>
                    <a:lnTo>
                      <a:pt x="1154" y="3318276"/>
                    </a:lnTo>
                    <a:lnTo>
                      <a:pt x="1178254" y="3311885"/>
                    </a:lnTo>
                    <a:lnTo>
                      <a:pt x="0" y="3820"/>
                    </a:lnTo>
                    <a:lnTo>
                      <a:pt x="2215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scene3d>
                <a:camera prst="orthographicFront"/>
                <a:lightRig rig="threePt" dir="t"/>
              </a:scene3d>
              <a:sp3d>
                <a:bevelT w="285750" h="1270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sz="1600" b="1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97313148-89BA-4D66-B844-908BC0A78592}"/>
                </a:ext>
              </a:extLst>
            </p:cNvPr>
            <p:cNvSpPr/>
            <p:nvPr/>
          </p:nvSpPr>
          <p:spPr>
            <a:xfrm>
              <a:off x="5193218" y="3246564"/>
              <a:ext cx="5270940" cy="2914266"/>
            </a:xfrm>
            <a:custGeom>
              <a:avLst/>
              <a:gdLst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87780 w 3886200"/>
                <a:gd name="connsiteY10" fmla="*/ 30480 h 2209800"/>
                <a:gd name="connsiteX11" fmla="*/ 0 w 3886200"/>
                <a:gd name="connsiteY11" fmla="*/ 2209800 h 2209800"/>
                <a:gd name="connsiteX0" fmla="*/ 0 w 3886200"/>
                <a:gd name="connsiteY0" fmla="*/ 2209800 h 2209800"/>
                <a:gd name="connsiteX1" fmla="*/ 3886200 w 3886200"/>
                <a:gd name="connsiteY1" fmla="*/ 2209800 h 2209800"/>
                <a:gd name="connsiteX2" fmla="*/ 2583180 w 3886200"/>
                <a:gd name="connsiteY2" fmla="*/ 0 h 2209800"/>
                <a:gd name="connsiteX3" fmla="*/ 2430780 w 3886200"/>
                <a:gd name="connsiteY3" fmla="*/ 236220 h 2209800"/>
                <a:gd name="connsiteX4" fmla="*/ 2049780 w 3886200"/>
                <a:gd name="connsiteY4" fmla="*/ 259080 h 2209800"/>
                <a:gd name="connsiteX5" fmla="*/ 1912620 w 3886200"/>
                <a:gd name="connsiteY5" fmla="*/ 106680 h 2209800"/>
                <a:gd name="connsiteX6" fmla="*/ 1752600 w 3886200"/>
                <a:gd name="connsiteY6" fmla="*/ 289560 h 2209800"/>
                <a:gd name="connsiteX7" fmla="*/ 1676400 w 3886200"/>
                <a:gd name="connsiteY7" fmla="*/ 419100 h 2209800"/>
                <a:gd name="connsiteX8" fmla="*/ 1432560 w 3886200"/>
                <a:gd name="connsiteY8" fmla="*/ 411480 h 2209800"/>
                <a:gd name="connsiteX9" fmla="*/ 1402080 w 3886200"/>
                <a:gd name="connsiteY9" fmla="*/ 175260 h 2209800"/>
                <a:gd name="connsiteX10" fmla="*/ 1273493 w 3886200"/>
                <a:gd name="connsiteY10" fmla="*/ 35242 h 2209800"/>
                <a:gd name="connsiteX11" fmla="*/ 0 w 3886200"/>
                <a:gd name="connsiteY11" fmla="*/ 2209800 h 2209800"/>
                <a:gd name="connsiteX0" fmla="*/ 0 w 3881437"/>
                <a:gd name="connsiteY0" fmla="*/ 2219325 h 2219325"/>
                <a:gd name="connsiteX1" fmla="*/ 3881437 w 3881437"/>
                <a:gd name="connsiteY1" fmla="*/ 2209800 h 2219325"/>
                <a:gd name="connsiteX2" fmla="*/ 2578417 w 3881437"/>
                <a:gd name="connsiteY2" fmla="*/ 0 h 2219325"/>
                <a:gd name="connsiteX3" fmla="*/ 2426017 w 3881437"/>
                <a:gd name="connsiteY3" fmla="*/ 236220 h 2219325"/>
                <a:gd name="connsiteX4" fmla="*/ 2045017 w 3881437"/>
                <a:gd name="connsiteY4" fmla="*/ 259080 h 2219325"/>
                <a:gd name="connsiteX5" fmla="*/ 1907857 w 3881437"/>
                <a:gd name="connsiteY5" fmla="*/ 106680 h 2219325"/>
                <a:gd name="connsiteX6" fmla="*/ 1747837 w 3881437"/>
                <a:gd name="connsiteY6" fmla="*/ 289560 h 2219325"/>
                <a:gd name="connsiteX7" fmla="*/ 1671637 w 3881437"/>
                <a:gd name="connsiteY7" fmla="*/ 419100 h 2219325"/>
                <a:gd name="connsiteX8" fmla="*/ 1427797 w 3881437"/>
                <a:gd name="connsiteY8" fmla="*/ 411480 h 2219325"/>
                <a:gd name="connsiteX9" fmla="*/ 1397317 w 3881437"/>
                <a:gd name="connsiteY9" fmla="*/ 175260 h 2219325"/>
                <a:gd name="connsiteX10" fmla="*/ 1268730 w 3881437"/>
                <a:gd name="connsiteY10" fmla="*/ 35242 h 2219325"/>
                <a:gd name="connsiteX11" fmla="*/ 0 w 3881437"/>
                <a:gd name="connsiteY11" fmla="*/ 2219325 h 2219325"/>
                <a:gd name="connsiteX0" fmla="*/ 0 w 3871912"/>
                <a:gd name="connsiteY0" fmla="*/ 2219325 h 2219325"/>
                <a:gd name="connsiteX1" fmla="*/ 3871912 w 3871912"/>
                <a:gd name="connsiteY1" fmla="*/ 2214562 h 2219325"/>
                <a:gd name="connsiteX2" fmla="*/ 2578417 w 3871912"/>
                <a:gd name="connsiteY2" fmla="*/ 0 h 2219325"/>
                <a:gd name="connsiteX3" fmla="*/ 2426017 w 3871912"/>
                <a:gd name="connsiteY3" fmla="*/ 236220 h 2219325"/>
                <a:gd name="connsiteX4" fmla="*/ 2045017 w 3871912"/>
                <a:gd name="connsiteY4" fmla="*/ 259080 h 2219325"/>
                <a:gd name="connsiteX5" fmla="*/ 1907857 w 3871912"/>
                <a:gd name="connsiteY5" fmla="*/ 106680 h 2219325"/>
                <a:gd name="connsiteX6" fmla="*/ 1747837 w 3871912"/>
                <a:gd name="connsiteY6" fmla="*/ 289560 h 2219325"/>
                <a:gd name="connsiteX7" fmla="*/ 1671637 w 3871912"/>
                <a:gd name="connsiteY7" fmla="*/ 419100 h 2219325"/>
                <a:gd name="connsiteX8" fmla="*/ 1427797 w 3871912"/>
                <a:gd name="connsiteY8" fmla="*/ 411480 h 2219325"/>
                <a:gd name="connsiteX9" fmla="*/ 1397317 w 3871912"/>
                <a:gd name="connsiteY9" fmla="*/ 175260 h 2219325"/>
                <a:gd name="connsiteX10" fmla="*/ 1268730 w 3871912"/>
                <a:gd name="connsiteY10" fmla="*/ 35242 h 2219325"/>
                <a:gd name="connsiteX11" fmla="*/ 0 w 3871912"/>
                <a:gd name="connsiteY11" fmla="*/ 2219325 h 2219325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427797 w 3871912"/>
                <a:gd name="connsiteY8" fmla="*/ 42100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228850 h 2228850"/>
                <a:gd name="connsiteX1" fmla="*/ 3871912 w 3871912"/>
                <a:gd name="connsiteY1" fmla="*/ 2224087 h 2228850"/>
                <a:gd name="connsiteX2" fmla="*/ 2578417 w 3871912"/>
                <a:gd name="connsiteY2" fmla="*/ 0 h 2228850"/>
                <a:gd name="connsiteX3" fmla="*/ 2426017 w 3871912"/>
                <a:gd name="connsiteY3" fmla="*/ 245745 h 2228850"/>
                <a:gd name="connsiteX4" fmla="*/ 2045017 w 3871912"/>
                <a:gd name="connsiteY4" fmla="*/ 268605 h 2228850"/>
                <a:gd name="connsiteX5" fmla="*/ 1907857 w 3871912"/>
                <a:gd name="connsiteY5" fmla="*/ 116205 h 2228850"/>
                <a:gd name="connsiteX6" fmla="*/ 1747837 w 3871912"/>
                <a:gd name="connsiteY6" fmla="*/ 299085 h 2228850"/>
                <a:gd name="connsiteX7" fmla="*/ 1671637 w 3871912"/>
                <a:gd name="connsiteY7" fmla="*/ 428625 h 2228850"/>
                <a:gd name="connsiteX8" fmla="*/ 1618297 w 3871912"/>
                <a:gd name="connsiteY8" fmla="*/ 20955 h 2228850"/>
                <a:gd name="connsiteX9" fmla="*/ 1397317 w 3871912"/>
                <a:gd name="connsiteY9" fmla="*/ 184785 h 2228850"/>
                <a:gd name="connsiteX10" fmla="*/ 1268730 w 3871912"/>
                <a:gd name="connsiteY10" fmla="*/ 44767 h 2228850"/>
                <a:gd name="connsiteX11" fmla="*/ 0 w 3871912"/>
                <a:gd name="connsiteY11" fmla="*/ 2228850 h 222885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045017 w 3871912"/>
                <a:gd name="connsiteY4" fmla="*/ 47434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71637 w 3871912"/>
                <a:gd name="connsiteY7" fmla="*/ 63436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614487 w 3871912"/>
                <a:gd name="connsiteY7" fmla="*/ 438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  <a:gd name="connsiteX0" fmla="*/ 0 w 3871912"/>
                <a:gd name="connsiteY0" fmla="*/ 2434590 h 2434590"/>
                <a:gd name="connsiteX1" fmla="*/ 3871912 w 3871912"/>
                <a:gd name="connsiteY1" fmla="*/ 2429827 h 2434590"/>
                <a:gd name="connsiteX2" fmla="*/ 2578417 w 3871912"/>
                <a:gd name="connsiteY2" fmla="*/ 205740 h 2434590"/>
                <a:gd name="connsiteX3" fmla="*/ 2426017 w 3871912"/>
                <a:gd name="connsiteY3" fmla="*/ 451485 h 2434590"/>
                <a:gd name="connsiteX4" fmla="*/ 2178367 w 3871912"/>
                <a:gd name="connsiteY4" fmla="*/ 150495 h 2434590"/>
                <a:gd name="connsiteX5" fmla="*/ 1907857 w 3871912"/>
                <a:gd name="connsiteY5" fmla="*/ 321945 h 2434590"/>
                <a:gd name="connsiteX6" fmla="*/ 1747837 w 3871912"/>
                <a:gd name="connsiteY6" fmla="*/ 0 h 2434590"/>
                <a:gd name="connsiteX7" fmla="*/ 1741487 w 3871912"/>
                <a:gd name="connsiteY7" fmla="*/ 234315 h 2434590"/>
                <a:gd name="connsiteX8" fmla="*/ 1618297 w 3871912"/>
                <a:gd name="connsiteY8" fmla="*/ 226695 h 2434590"/>
                <a:gd name="connsiteX9" fmla="*/ 1397317 w 3871912"/>
                <a:gd name="connsiteY9" fmla="*/ 390525 h 2434590"/>
                <a:gd name="connsiteX10" fmla="*/ 1268730 w 3871912"/>
                <a:gd name="connsiteY10" fmla="*/ 250507 h 2434590"/>
                <a:gd name="connsiteX11" fmla="*/ 0 w 3871912"/>
                <a:gd name="connsiteY11" fmla="*/ 2434590 h 243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71912" h="2434590">
                  <a:moveTo>
                    <a:pt x="0" y="2434590"/>
                  </a:moveTo>
                  <a:lnTo>
                    <a:pt x="3871912" y="2429827"/>
                  </a:lnTo>
                  <a:lnTo>
                    <a:pt x="2578417" y="205740"/>
                  </a:lnTo>
                  <a:lnTo>
                    <a:pt x="2426017" y="451485"/>
                  </a:lnTo>
                  <a:lnTo>
                    <a:pt x="2178367" y="150495"/>
                  </a:lnTo>
                  <a:lnTo>
                    <a:pt x="1907857" y="321945"/>
                  </a:lnTo>
                  <a:lnTo>
                    <a:pt x="1747837" y="0"/>
                  </a:lnTo>
                  <a:lnTo>
                    <a:pt x="1741487" y="234315"/>
                  </a:lnTo>
                  <a:lnTo>
                    <a:pt x="1618297" y="226695"/>
                  </a:lnTo>
                  <a:lnTo>
                    <a:pt x="1397317" y="390525"/>
                  </a:lnTo>
                  <a:lnTo>
                    <a:pt x="1268730" y="250507"/>
                  </a:lnTo>
                  <a:lnTo>
                    <a:pt x="0" y="2434590"/>
                  </a:lnTo>
                  <a:close/>
                </a:path>
              </a:pathLst>
            </a:custGeom>
            <a:solidFill>
              <a:srgbClr val="5E9042">
                <a:alpha val="78000"/>
              </a:srgbClr>
            </a:solidFill>
            <a:ln w="9525">
              <a:noFill/>
            </a:ln>
            <a:scene3d>
              <a:camera prst="orthographicFront"/>
              <a:lightRig rig="threePt" dir="t"/>
            </a:scene3d>
            <a:sp3d>
              <a:bevelT w="6350" h="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B6018669-1197-4EF4-84CF-D7459A5056D7}"/>
              </a:ext>
            </a:extLst>
          </p:cNvPr>
          <p:cNvGrpSpPr/>
          <p:nvPr/>
        </p:nvGrpSpPr>
        <p:grpSpPr>
          <a:xfrm>
            <a:off x="5705209" y="464484"/>
            <a:ext cx="1746470" cy="1746470"/>
            <a:chOff x="4504782" y="583785"/>
            <a:chExt cx="1746470" cy="1746470"/>
          </a:xfrm>
          <a:effectLst/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F8296D2E-C62E-442A-B284-01EF22F485D3}"/>
                </a:ext>
              </a:extLst>
            </p:cNvPr>
            <p:cNvSpPr/>
            <p:nvPr/>
          </p:nvSpPr>
          <p:spPr>
            <a:xfrm>
              <a:off x="4504782" y="583785"/>
              <a:ext cx="1746470" cy="174647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6F43371B-2E28-4347-9466-625BE13886BE}"/>
                </a:ext>
              </a:extLst>
            </p:cNvPr>
            <p:cNvSpPr/>
            <p:nvPr/>
          </p:nvSpPr>
          <p:spPr>
            <a:xfrm>
              <a:off x="4558719" y="1132017"/>
              <a:ext cx="164672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 dirty="0" smtClean="0">
                  <a:solidFill>
                    <a:schemeClr val="bg1"/>
                  </a:solidFill>
                </a:rPr>
                <a:t>NETWORK OF PEERS</a:t>
              </a:r>
              <a:endParaRPr lang="en-I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E8E02D71-8469-41C1-9C0E-6742E8EF3231}"/>
              </a:ext>
            </a:extLst>
          </p:cNvPr>
          <p:cNvGrpSpPr/>
          <p:nvPr/>
        </p:nvGrpSpPr>
        <p:grpSpPr>
          <a:xfrm>
            <a:off x="3700316" y="1853762"/>
            <a:ext cx="1746470" cy="1746470"/>
            <a:chOff x="2411207" y="1780780"/>
            <a:chExt cx="1746470" cy="1746470"/>
          </a:xfrm>
          <a:effectLst/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id="{0ACF8CE3-993E-4A4B-901E-4935D76BA0C2}"/>
                </a:ext>
              </a:extLst>
            </p:cNvPr>
            <p:cNvSpPr/>
            <p:nvPr/>
          </p:nvSpPr>
          <p:spPr>
            <a:xfrm>
              <a:off x="2411207" y="1780780"/>
              <a:ext cx="1746470" cy="174647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5045B72C-7B35-4D52-8293-59306249D8F5}"/>
                </a:ext>
              </a:extLst>
            </p:cNvPr>
            <p:cNvSpPr/>
            <p:nvPr/>
          </p:nvSpPr>
          <p:spPr>
            <a:xfrm>
              <a:off x="2442706" y="2193403"/>
              <a:ext cx="1683472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EVANT WORK EXPERIENCE</a:t>
              </a:r>
              <a:endParaRPr lang="en-IN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240B02B-5B9B-4423-B6A6-AD370F2605E8}"/>
              </a:ext>
            </a:extLst>
          </p:cNvPr>
          <p:cNvCxnSpPr/>
          <p:nvPr/>
        </p:nvCxnSpPr>
        <p:spPr>
          <a:xfrm flipV="1">
            <a:off x="5492650" y="4454928"/>
            <a:ext cx="4275403" cy="119366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B3DB520-3ED2-4C70-AA82-61C0DCEDAA31}"/>
              </a:ext>
            </a:extLst>
          </p:cNvPr>
          <p:cNvCxnSpPr>
            <a:cxnSpLocks/>
          </p:cNvCxnSpPr>
          <p:nvPr/>
        </p:nvCxnSpPr>
        <p:spPr>
          <a:xfrm>
            <a:off x="7672636" y="3303202"/>
            <a:ext cx="2062431" cy="1113548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41B0FA2-8640-46C2-8EEF-08A3AD2BC75B}"/>
              </a:ext>
            </a:extLst>
          </p:cNvPr>
          <p:cNvCxnSpPr>
            <a:cxnSpLocks/>
            <a:stCxn id="521" idx="1"/>
          </p:cNvCxnSpPr>
          <p:nvPr/>
        </p:nvCxnSpPr>
        <p:spPr>
          <a:xfrm flipH="1">
            <a:off x="7644305" y="1529881"/>
            <a:ext cx="473250" cy="1766795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9" name="Group 518">
            <a:extLst>
              <a:ext uri="{FF2B5EF4-FFF2-40B4-BE49-F238E27FC236}">
                <a16:creationId xmlns:a16="http://schemas.microsoft.com/office/drawing/2014/main" id="{C4EDC8C0-D0E9-4775-97EB-497B071F9319}"/>
              </a:ext>
            </a:extLst>
          </p:cNvPr>
          <p:cNvGrpSpPr/>
          <p:nvPr/>
        </p:nvGrpSpPr>
        <p:grpSpPr>
          <a:xfrm>
            <a:off x="8092785" y="550488"/>
            <a:ext cx="411883" cy="990865"/>
            <a:chOff x="9053309" y="399730"/>
            <a:chExt cx="411883" cy="990865"/>
          </a:xfrm>
        </p:grpSpPr>
        <p:sp>
          <p:nvSpPr>
            <p:cNvPr id="520" name="Freeform 9">
              <a:extLst>
                <a:ext uri="{FF2B5EF4-FFF2-40B4-BE49-F238E27FC236}">
                  <a16:creationId xmlns:a16="http://schemas.microsoft.com/office/drawing/2014/main" id="{5B6F9A9E-3630-4AAB-91CD-99C522A2E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2942" y="399730"/>
              <a:ext cx="392250" cy="364890"/>
            </a:xfrm>
            <a:custGeom>
              <a:avLst/>
              <a:gdLst>
                <a:gd name="T0" fmla="*/ 47 w 1913"/>
                <a:gd name="T1" fmla="*/ 1746 h 1762"/>
                <a:gd name="T2" fmla="*/ 0 w 1913"/>
                <a:gd name="T3" fmla="*/ 1717 h 1762"/>
                <a:gd name="T4" fmla="*/ 757 w 1913"/>
                <a:gd name="T5" fmla="*/ 8 h 1762"/>
                <a:gd name="T6" fmla="*/ 859 w 1913"/>
                <a:gd name="T7" fmla="*/ 52 h 1762"/>
                <a:gd name="T8" fmla="*/ 844 w 1913"/>
                <a:gd name="T9" fmla="*/ 106 h 1762"/>
                <a:gd name="T10" fmla="*/ 828 w 1913"/>
                <a:gd name="T11" fmla="*/ 151 h 1762"/>
                <a:gd name="T12" fmla="*/ 901 w 1913"/>
                <a:gd name="T13" fmla="*/ 142 h 1762"/>
                <a:gd name="T14" fmla="*/ 1072 w 1913"/>
                <a:gd name="T15" fmla="*/ 154 h 1762"/>
                <a:gd name="T16" fmla="*/ 1482 w 1913"/>
                <a:gd name="T17" fmla="*/ 412 h 1762"/>
                <a:gd name="T18" fmla="*/ 1513 w 1913"/>
                <a:gd name="T19" fmla="*/ 465 h 1762"/>
                <a:gd name="T20" fmla="*/ 1475 w 1913"/>
                <a:gd name="T21" fmla="*/ 550 h 1762"/>
                <a:gd name="T22" fmla="*/ 1458 w 1913"/>
                <a:gd name="T23" fmla="*/ 659 h 1762"/>
                <a:gd name="T24" fmla="*/ 1864 w 1913"/>
                <a:gd name="T25" fmla="*/ 804 h 1762"/>
                <a:gd name="T26" fmla="*/ 1913 w 1913"/>
                <a:gd name="T27" fmla="*/ 805 h 1762"/>
                <a:gd name="T28" fmla="*/ 1548 w 1913"/>
                <a:gd name="T29" fmla="*/ 1596 h 1762"/>
                <a:gd name="T30" fmla="*/ 1079 w 1913"/>
                <a:gd name="T31" fmla="*/ 1479 h 1762"/>
                <a:gd name="T32" fmla="*/ 1008 w 1913"/>
                <a:gd name="T33" fmla="*/ 1382 h 1762"/>
                <a:gd name="T34" fmla="*/ 1029 w 1913"/>
                <a:gd name="T35" fmla="*/ 1253 h 1762"/>
                <a:gd name="T36" fmla="*/ 1067 w 1913"/>
                <a:gd name="T37" fmla="*/ 1166 h 1762"/>
                <a:gd name="T38" fmla="*/ 1037 w 1913"/>
                <a:gd name="T39" fmla="*/ 1143 h 1762"/>
                <a:gd name="T40" fmla="*/ 675 w 1913"/>
                <a:gd name="T41" fmla="*/ 975 h 1762"/>
                <a:gd name="T42" fmla="*/ 465 w 1913"/>
                <a:gd name="T43" fmla="*/ 972 h 1762"/>
                <a:gd name="T44" fmla="*/ 281 w 1913"/>
                <a:gd name="T45" fmla="*/ 1369 h 1762"/>
                <a:gd name="T46" fmla="*/ 102 w 1913"/>
                <a:gd name="T47" fmla="*/ 1757 h 1762"/>
                <a:gd name="T48" fmla="*/ 47 w 1913"/>
                <a:gd name="T49" fmla="*/ 1746 h 1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13" h="1762">
                  <a:moveTo>
                    <a:pt x="47" y="1746"/>
                  </a:moveTo>
                  <a:cubicBezTo>
                    <a:pt x="21" y="1736"/>
                    <a:pt x="0" y="1723"/>
                    <a:pt x="0" y="1717"/>
                  </a:cubicBezTo>
                  <a:cubicBezTo>
                    <a:pt x="0" y="1707"/>
                    <a:pt x="748" y="18"/>
                    <a:pt x="757" y="8"/>
                  </a:cubicBezTo>
                  <a:cubicBezTo>
                    <a:pt x="764" y="0"/>
                    <a:pt x="853" y="38"/>
                    <a:pt x="859" y="52"/>
                  </a:cubicBezTo>
                  <a:cubicBezTo>
                    <a:pt x="862" y="60"/>
                    <a:pt x="855" y="84"/>
                    <a:pt x="844" y="106"/>
                  </a:cubicBezTo>
                  <a:cubicBezTo>
                    <a:pt x="832" y="128"/>
                    <a:pt x="825" y="148"/>
                    <a:pt x="828" y="151"/>
                  </a:cubicBezTo>
                  <a:cubicBezTo>
                    <a:pt x="831" y="154"/>
                    <a:pt x="864" y="150"/>
                    <a:pt x="901" y="142"/>
                  </a:cubicBezTo>
                  <a:cubicBezTo>
                    <a:pt x="959" y="130"/>
                    <a:pt x="983" y="131"/>
                    <a:pt x="1072" y="154"/>
                  </a:cubicBezTo>
                  <a:cubicBezTo>
                    <a:pt x="1264" y="203"/>
                    <a:pt x="1414" y="297"/>
                    <a:pt x="1482" y="412"/>
                  </a:cubicBezTo>
                  <a:lnTo>
                    <a:pt x="1513" y="465"/>
                  </a:lnTo>
                  <a:lnTo>
                    <a:pt x="1475" y="550"/>
                  </a:lnTo>
                  <a:cubicBezTo>
                    <a:pt x="1439" y="631"/>
                    <a:pt x="1438" y="636"/>
                    <a:pt x="1458" y="659"/>
                  </a:cubicBezTo>
                  <a:cubicBezTo>
                    <a:pt x="1516" y="722"/>
                    <a:pt x="1769" y="813"/>
                    <a:pt x="1864" y="804"/>
                  </a:cubicBezTo>
                  <a:cubicBezTo>
                    <a:pt x="1891" y="801"/>
                    <a:pt x="1913" y="802"/>
                    <a:pt x="1913" y="805"/>
                  </a:cubicBezTo>
                  <a:cubicBezTo>
                    <a:pt x="1913" y="829"/>
                    <a:pt x="1567" y="1580"/>
                    <a:pt x="1548" y="1596"/>
                  </a:cubicBezTo>
                  <a:cubicBezTo>
                    <a:pt x="1460" y="1672"/>
                    <a:pt x="1204" y="1608"/>
                    <a:pt x="1079" y="1479"/>
                  </a:cubicBezTo>
                  <a:cubicBezTo>
                    <a:pt x="1050" y="1449"/>
                    <a:pt x="1018" y="1406"/>
                    <a:pt x="1008" y="1382"/>
                  </a:cubicBezTo>
                  <a:cubicBezTo>
                    <a:pt x="992" y="1342"/>
                    <a:pt x="993" y="1335"/>
                    <a:pt x="1029" y="1253"/>
                  </a:cubicBezTo>
                  <a:lnTo>
                    <a:pt x="1067" y="1166"/>
                  </a:lnTo>
                  <a:lnTo>
                    <a:pt x="1037" y="1143"/>
                  </a:lnTo>
                  <a:cubicBezTo>
                    <a:pt x="978" y="1097"/>
                    <a:pt x="755" y="994"/>
                    <a:pt x="675" y="975"/>
                  </a:cubicBezTo>
                  <a:cubicBezTo>
                    <a:pt x="575" y="952"/>
                    <a:pt x="483" y="951"/>
                    <a:pt x="465" y="972"/>
                  </a:cubicBezTo>
                  <a:cubicBezTo>
                    <a:pt x="458" y="981"/>
                    <a:pt x="375" y="1160"/>
                    <a:pt x="281" y="1369"/>
                  </a:cubicBezTo>
                  <a:cubicBezTo>
                    <a:pt x="188" y="1579"/>
                    <a:pt x="107" y="1753"/>
                    <a:pt x="102" y="1757"/>
                  </a:cubicBezTo>
                  <a:cubicBezTo>
                    <a:pt x="98" y="1762"/>
                    <a:pt x="73" y="1757"/>
                    <a:pt x="47" y="1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1" name="Freeform 13">
              <a:extLst>
                <a:ext uri="{FF2B5EF4-FFF2-40B4-BE49-F238E27FC236}">
                  <a16:creationId xmlns:a16="http://schemas.microsoft.com/office/drawing/2014/main" id="{396DDA30-B49F-4DEE-B4CF-B80C94AC1D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3309" y="694347"/>
              <a:ext cx="300998" cy="696248"/>
            </a:xfrm>
            <a:custGeom>
              <a:avLst/>
              <a:gdLst>
                <a:gd name="T0" fmla="*/ 386 w 3366"/>
                <a:gd name="T1" fmla="*/ 7638 h 7708"/>
                <a:gd name="T2" fmla="*/ 277 w 3366"/>
                <a:gd name="T3" fmla="*/ 7581 h 7708"/>
                <a:gd name="T4" fmla="*/ 162 w 3366"/>
                <a:gd name="T5" fmla="*/ 7370 h 7708"/>
                <a:gd name="T6" fmla="*/ 264 w 3366"/>
                <a:gd name="T7" fmla="*/ 6317 h 7708"/>
                <a:gd name="T8" fmla="*/ 585 w 3366"/>
                <a:gd name="T9" fmla="*/ 4817 h 7708"/>
                <a:gd name="T10" fmla="*/ 807 w 3366"/>
                <a:gd name="T11" fmla="*/ 4210 h 7708"/>
                <a:gd name="T12" fmla="*/ 864 w 3366"/>
                <a:gd name="T13" fmla="*/ 3129 h 7708"/>
                <a:gd name="T14" fmla="*/ 864 w 3366"/>
                <a:gd name="T15" fmla="*/ 2667 h 7708"/>
                <a:gd name="T16" fmla="*/ 774 w 3366"/>
                <a:gd name="T17" fmla="*/ 2517 h 7708"/>
                <a:gd name="T18" fmla="*/ 50 w 3366"/>
                <a:gd name="T19" fmla="*/ 611 h 7708"/>
                <a:gd name="T20" fmla="*/ 210 w 3366"/>
                <a:gd name="T21" fmla="*/ 110 h 7708"/>
                <a:gd name="T22" fmla="*/ 688 w 3366"/>
                <a:gd name="T23" fmla="*/ 150 h 7708"/>
                <a:gd name="T24" fmla="*/ 806 w 3366"/>
                <a:gd name="T25" fmla="*/ 504 h 7708"/>
                <a:gd name="T26" fmla="*/ 1242 w 3366"/>
                <a:gd name="T27" fmla="*/ 1773 h 7708"/>
                <a:gd name="T28" fmla="*/ 1315 w 3366"/>
                <a:gd name="T29" fmla="*/ 1921 h 7708"/>
                <a:gd name="T30" fmla="*/ 1406 w 3366"/>
                <a:gd name="T31" fmla="*/ 1905 h 7708"/>
                <a:gd name="T32" fmla="*/ 1922 w 3366"/>
                <a:gd name="T33" fmla="*/ 1963 h 7708"/>
                <a:gd name="T34" fmla="*/ 2193 w 3366"/>
                <a:gd name="T35" fmla="*/ 2208 h 7708"/>
                <a:gd name="T36" fmla="*/ 2285 w 3366"/>
                <a:gd name="T37" fmla="*/ 2283 h 7708"/>
                <a:gd name="T38" fmla="*/ 2397 w 3366"/>
                <a:gd name="T39" fmla="*/ 2349 h 7708"/>
                <a:gd name="T40" fmla="*/ 2463 w 3366"/>
                <a:gd name="T41" fmla="*/ 2398 h 7708"/>
                <a:gd name="T42" fmla="*/ 2470 w 3366"/>
                <a:gd name="T43" fmla="*/ 2366 h 7708"/>
                <a:gd name="T44" fmla="*/ 2676 w 3366"/>
                <a:gd name="T45" fmla="*/ 2097 h 7708"/>
                <a:gd name="T46" fmla="*/ 2854 w 3366"/>
                <a:gd name="T47" fmla="*/ 2056 h 7708"/>
                <a:gd name="T48" fmla="*/ 3177 w 3366"/>
                <a:gd name="T49" fmla="*/ 2237 h 7708"/>
                <a:gd name="T50" fmla="*/ 3338 w 3366"/>
                <a:gd name="T51" fmla="*/ 3114 h 7708"/>
                <a:gd name="T52" fmla="*/ 3356 w 3366"/>
                <a:gd name="T53" fmla="*/ 3470 h 7708"/>
                <a:gd name="T54" fmla="*/ 3105 w 3366"/>
                <a:gd name="T55" fmla="*/ 3780 h 7708"/>
                <a:gd name="T56" fmla="*/ 2829 w 3366"/>
                <a:gd name="T57" fmla="*/ 3762 h 7708"/>
                <a:gd name="T58" fmla="*/ 2560 w 3366"/>
                <a:gd name="T59" fmla="*/ 3548 h 7708"/>
                <a:gd name="T60" fmla="*/ 2332 w 3366"/>
                <a:gd name="T61" fmla="*/ 3360 h 7708"/>
                <a:gd name="T62" fmla="*/ 2320 w 3366"/>
                <a:gd name="T63" fmla="*/ 3507 h 7708"/>
                <a:gd name="T64" fmla="*/ 2255 w 3366"/>
                <a:gd name="T65" fmla="*/ 4460 h 7708"/>
                <a:gd name="T66" fmla="*/ 2217 w 3366"/>
                <a:gd name="T67" fmla="*/ 4604 h 7708"/>
                <a:gd name="T68" fmla="*/ 2206 w 3366"/>
                <a:gd name="T69" fmla="*/ 4785 h 7708"/>
                <a:gd name="T70" fmla="*/ 2239 w 3366"/>
                <a:gd name="T71" fmla="*/ 5167 h 7708"/>
                <a:gd name="T72" fmla="*/ 2363 w 3366"/>
                <a:gd name="T73" fmla="*/ 6617 h 7708"/>
                <a:gd name="T74" fmla="*/ 2432 w 3366"/>
                <a:gd name="T75" fmla="*/ 7225 h 7708"/>
                <a:gd name="T76" fmla="*/ 2411 w 3366"/>
                <a:gd name="T77" fmla="*/ 7339 h 7708"/>
                <a:gd name="T78" fmla="*/ 2180 w 3366"/>
                <a:gd name="T79" fmla="*/ 7592 h 7708"/>
                <a:gd name="T80" fmla="*/ 1854 w 3366"/>
                <a:gd name="T81" fmla="*/ 7600 h 7708"/>
                <a:gd name="T82" fmla="*/ 1706 w 3366"/>
                <a:gd name="T83" fmla="*/ 7412 h 7708"/>
                <a:gd name="T84" fmla="*/ 1538 w 3366"/>
                <a:gd name="T85" fmla="*/ 5898 h 7708"/>
                <a:gd name="T86" fmla="*/ 1494 w 3366"/>
                <a:gd name="T87" fmla="*/ 5373 h 7708"/>
                <a:gd name="T88" fmla="*/ 1470 w 3366"/>
                <a:gd name="T89" fmla="*/ 5085 h 7708"/>
                <a:gd name="T90" fmla="*/ 1393 w 3366"/>
                <a:gd name="T91" fmla="*/ 5050 h 7708"/>
                <a:gd name="T92" fmla="*/ 1315 w 3366"/>
                <a:gd name="T93" fmla="*/ 5038 h 7708"/>
                <a:gd name="T94" fmla="*/ 1212 w 3366"/>
                <a:gd name="T95" fmla="*/ 5410 h 7708"/>
                <a:gd name="T96" fmla="*/ 939 w 3366"/>
                <a:gd name="T97" fmla="*/ 7123 h 7708"/>
                <a:gd name="T98" fmla="*/ 901 w 3366"/>
                <a:gd name="T99" fmla="*/ 7393 h 7708"/>
                <a:gd name="T100" fmla="*/ 386 w 3366"/>
                <a:gd name="T101" fmla="*/ 7638 h 7708"/>
                <a:gd name="T102" fmla="*/ 1945 w 3366"/>
                <a:gd name="T103" fmla="*/ 1890 h 7708"/>
                <a:gd name="T104" fmla="*/ 1553 w 3366"/>
                <a:gd name="T105" fmla="*/ 1693 h 7708"/>
                <a:gd name="T106" fmla="*/ 1358 w 3366"/>
                <a:gd name="T107" fmla="*/ 1217 h 7708"/>
                <a:gd name="T108" fmla="*/ 1832 w 3366"/>
                <a:gd name="T109" fmla="*/ 579 h 7708"/>
                <a:gd name="T110" fmla="*/ 2219 w 3366"/>
                <a:gd name="T111" fmla="*/ 577 h 7708"/>
                <a:gd name="T112" fmla="*/ 2616 w 3366"/>
                <a:gd name="T113" fmla="*/ 902 h 7708"/>
                <a:gd name="T114" fmla="*/ 2696 w 3366"/>
                <a:gd name="T115" fmla="*/ 1223 h 7708"/>
                <a:gd name="T116" fmla="*/ 2249 w 3366"/>
                <a:gd name="T117" fmla="*/ 1853 h 7708"/>
                <a:gd name="T118" fmla="*/ 1945 w 3366"/>
                <a:gd name="T119" fmla="*/ 1890 h 7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6" h="7708">
                  <a:moveTo>
                    <a:pt x="386" y="7638"/>
                  </a:moveTo>
                  <a:cubicBezTo>
                    <a:pt x="351" y="7625"/>
                    <a:pt x="302" y="7599"/>
                    <a:pt x="277" y="7581"/>
                  </a:cubicBezTo>
                  <a:cubicBezTo>
                    <a:pt x="224" y="7540"/>
                    <a:pt x="172" y="7445"/>
                    <a:pt x="162" y="7370"/>
                  </a:cubicBezTo>
                  <a:cubicBezTo>
                    <a:pt x="154" y="7308"/>
                    <a:pt x="218" y="6644"/>
                    <a:pt x="264" y="6317"/>
                  </a:cubicBezTo>
                  <a:cubicBezTo>
                    <a:pt x="343" y="5751"/>
                    <a:pt x="451" y="5247"/>
                    <a:pt x="585" y="4817"/>
                  </a:cubicBezTo>
                  <a:cubicBezTo>
                    <a:pt x="641" y="4639"/>
                    <a:pt x="772" y="4280"/>
                    <a:pt x="807" y="4210"/>
                  </a:cubicBezTo>
                  <a:cubicBezTo>
                    <a:pt x="840" y="4145"/>
                    <a:pt x="864" y="3688"/>
                    <a:pt x="864" y="3129"/>
                  </a:cubicBezTo>
                  <a:lnTo>
                    <a:pt x="864" y="2667"/>
                  </a:lnTo>
                  <a:lnTo>
                    <a:pt x="774" y="2517"/>
                  </a:lnTo>
                  <a:cubicBezTo>
                    <a:pt x="447" y="1967"/>
                    <a:pt x="178" y="1259"/>
                    <a:pt x="50" y="611"/>
                  </a:cubicBezTo>
                  <a:cubicBezTo>
                    <a:pt x="0" y="357"/>
                    <a:pt x="45" y="216"/>
                    <a:pt x="210" y="110"/>
                  </a:cubicBezTo>
                  <a:cubicBezTo>
                    <a:pt x="380" y="0"/>
                    <a:pt x="573" y="16"/>
                    <a:pt x="688" y="150"/>
                  </a:cubicBezTo>
                  <a:cubicBezTo>
                    <a:pt x="737" y="208"/>
                    <a:pt x="747" y="237"/>
                    <a:pt x="806" y="504"/>
                  </a:cubicBezTo>
                  <a:cubicBezTo>
                    <a:pt x="913" y="980"/>
                    <a:pt x="1045" y="1365"/>
                    <a:pt x="1242" y="1773"/>
                  </a:cubicBezTo>
                  <a:cubicBezTo>
                    <a:pt x="1281" y="1852"/>
                    <a:pt x="1313" y="1918"/>
                    <a:pt x="1315" y="1921"/>
                  </a:cubicBezTo>
                  <a:cubicBezTo>
                    <a:pt x="1317" y="1923"/>
                    <a:pt x="1357" y="1916"/>
                    <a:pt x="1406" y="1905"/>
                  </a:cubicBezTo>
                  <a:cubicBezTo>
                    <a:pt x="1584" y="1865"/>
                    <a:pt x="1774" y="1886"/>
                    <a:pt x="1922" y="1963"/>
                  </a:cubicBezTo>
                  <a:cubicBezTo>
                    <a:pt x="2014" y="2011"/>
                    <a:pt x="2140" y="2125"/>
                    <a:pt x="2193" y="2208"/>
                  </a:cubicBezTo>
                  <a:cubicBezTo>
                    <a:pt x="2223" y="2254"/>
                    <a:pt x="2243" y="2270"/>
                    <a:pt x="2285" y="2283"/>
                  </a:cubicBezTo>
                  <a:cubicBezTo>
                    <a:pt x="2314" y="2292"/>
                    <a:pt x="2365" y="2322"/>
                    <a:pt x="2397" y="2349"/>
                  </a:cubicBezTo>
                  <a:cubicBezTo>
                    <a:pt x="2429" y="2376"/>
                    <a:pt x="2459" y="2398"/>
                    <a:pt x="2463" y="2398"/>
                  </a:cubicBezTo>
                  <a:cubicBezTo>
                    <a:pt x="2467" y="2398"/>
                    <a:pt x="2470" y="2384"/>
                    <a:pt x="2470" y="2366"/>
                  </a:cubicBezTo>
                  <a:cubicBezTo>
                    <a:pt x="2470" y="2273"/>
                    <a:pt x="2562" y="2153"/>
                    <a:pt x="2676" y="2097"/>
                  </a:cubicBezTo>
                  <a:cubicBezTo>
                    <a:pt x="2745" y="2063"/>
                    <a:pt x="2771" y="2057"/>
                    <a:pt x="2854" y="2056"/>
                  </a:cubicBezTo>
                  <a:cubicBezTo>
                    <a:pt x="3006" y="2056"/>
                    <a:pt x="3116" y="2117"/>
                    <a:pt x="3177" y="2237"/>
                  </a:cubicBezTo>
                  <a:cubicBezTo>
                    <a:pt x="3234" y="2349"/>
                    <a:pt x="3285" y="2628"/>
                    <a:pt x="3338" y="3114"/>
                  </a:cubicBezTo>
                  <a:cubicBezTo>
                    <a:pt x="3363" y="3344"/>
                    <a:pt x="3366" y="3412"/>
                    <a:pt x="3356" y="3470"/>
                  </a:cubicBezTo>
                  <a:cubicBezTo>
                    <a:pt x="3329" y="3615"/>
                    <a:pt x="3229" y="3739"/>
                    <a:pt x="3105" y="3780"/>
                  </a:cubicBezTo>
                  <a:cubicBezTo>
                    <a:pt x="3025" y="3806"/>
                    <a:pt x="2905" y="3799"/>
                    <a:pt x="2829" y="3762"/>
                  </a:cubicBezTo>
                  <a:cubicBezTo>
                    <a:pt x="2799" y="3747"/>
                    <a:pt x="2678" y="3651"/>
                    <a:pt x="2560" y="3548"/>
                  </a:cubicBezTo>
                  <a:cubicBezTo>
                    <a:pt x="2442" y="3445"/>
                    <a:pt x="2339" y="3360"/>
                    <a:pt x="2332" y="3360"/>
                  </a:cubicBezTo>
                  <a:cubicBezTo>
                    <a:pt x="2325" y="3360"/>
                    <a:pt x="2320" y="3416"/>
                    <a:pt x="2320" y="3507"/>
                  </a:cubicBezTo>
                  <a:cubicBezTo>
                    <a:pt x="2320" y="3736"/>
                    <a:pt x="2281" y="4306"/>
                    <a:pt x="2255" y="4460"/>
                  </a:cubicBezTo>
                  <a:cubicBezTo>
                    <a:pt x="2248" y="4505"/>
                    <a:pt x="2230" y="4570"/>
                    <a:pt x="2217" y="4604"/>
                  </a:cubicBezTo>
                  <a:cubicBezTo>
                    <a:pt x="2195" y="4661"/>
                    <a:pt x="2194" y="4678"/>
                    <a:pt x="2206" y="4785"/>
                  </a:cubicBezTo>
                  <a:cubicBezTo>
                    <a:pt x="2214" y="4851"/>
                    <a:pt x="2229" y="5022"/>
                    <a:pt x="2239" y="5167"/>
                  </a:cubicBezTo>
                  <a:cubicBezTo>
                    <a:pt x="2273" y="5630"/>
                    <a:pt x="2344" y="6462"/>
                    <a:pt x="2363" y="6617"/>
                  </a:cubicBezTo>
                  <a:cubicBezTo>
                    <a:pt x="2407" y="6959"/>
                    <a:pt x="2432" y="7187"/>
                    <a:pt x="2432" y="7225"/>
                  </a:cubicBezTo>
                  <a:cubicBezTo>
                    <a:pt x="2432" y="7247"/>
                    <a:pt x="2423" y="7298"/>
                    <a:pt x="2411" y="7339"/>
                  </a:cubicBezTo>
                  <a:cubicBezTo>
                    <a:pt x="2383" y="7440"/>
                    <a:pt x="2289" y="7542"/>
                    <a:pt x="2180" y="7592"/>
                  </a:cubicBezTo>
                  <a:cubicBezTo>
                    <a:pt x="2074" y="7641"/>
                    <a:pt x="1943" y="7644"/>
                    <a:pt x="1854" y="7600"/>
                  </a:cubicBezTo>
                  <a:cubicBezTo>
                    <a:pt x="1787" y="7567"/>
                    <a:pt x="1723" y="7485"/>
                    <a:pt x="1706" y="7412"/>
                  </a:cubicBezTo>
                  <a:cubicBezTo>
                    <a:pt x="1674" y="7267"/>
                    <a:pt x="1574" y="6368"/>
                    <a:pt x="1538" y="5898"/>
                  </a:cubicBezTo>
                  <a:cubicBezTo>
                    <a:pt x="1527" y="5757"/>
                    <a:pt x="1508" y="5521"/>
                    <a:pt x="1494" y="5373"/>
                  </a:cubicBezTo>
                  <a:cubicBezTo>
                    <a:pt x="1481" y="5225"/>
                    <a:pt x="1470" y="5095"/>
                    <a:pt x="1470" y="5085"/>
                  </a:cubicBezTo>
                  <a:cubicBezTo>
                    <a:pt x="1470" y="5071"/>
                    <a:pt x="1447" y="5061"/>
                    <a:pt x="1393" y="5050"/>
                  </a:cubicBezTo>
                  <a:cubicBezTo>
                    <a:pt x="1351" y="5041"/>
                    <a:pt x="1316" y="5035"/>
                    <a:pt x="1315" y="5038"/>
                  </a:cubicBezTo>
                  <a:cubicBezTo>
                    <a:pt x="1308" y="5048"/>
                    <a:pt x="1249" y="5261"/>
                    <a:pt x="1212" y="5410"/>
                  </a:cubicBezTo>
                  <a:cubicBezTo>
                    <a:pt x="1088" y="5895"/>
                    <a:pt x="1004" y="6428"/>
                    <a:pt x="939" y="7123"/>
                  </a:cubicBezTo>
                  <a:cubicBezTo>
                    <a:pt x="928" y="7236"/>
                    <a:pt x="911" y="7358"/>
                    <a:pt x="901" y="7393"/>
                  </a:cubicBezTo>
                  <a:cubicBezTo>
                    <a:pt x="846" y="7584"/>
                    <a:pt x="584" y="7708"/>
                    <a:pt x="386" y="7638"/>
                  </a:cubicBezTo>
                  <a:close/>
                  <a:moveTo>
                    <a:pt x="1945" y="1890"/>
                  </a:moveTo>
                  <a:cubicBezTo>
                    <a:pt x="1809" y="1873"/>
                    <a:pt x="1653" y="1795"/>
                    <a:pt x="1553" y="1693"/>
                  </a:cubicBezTo>
                  <a:cubicBezTo>
                    <a:pt x="1423" y="1562"/>
                    <a:pt x="1358" y="1401"/>
                    <a:pt x="1358" y="1217"/>
                  </a:cubicBezTo>
                  <a:cubicBezTo>
                    <a:pt x="1358" y="929"/>
                    <a:pt x="1548" y="673"/>
                    <a:pt x="1832" y="579"/>
                  </a:cubicBezTo>
                  <a:cubicBezTo>
                    <a:pt x="1923" y="548"/>
                    <a:pt x="2123" y="548"/>
                    <a:pt x="2219" y="577"/>
                  </a:cubicBezTo>
                  <a:cubicBezTo>
                    <a:pt x="2377" y="625"/>
                    <a:pt x="2545" y="763"/>
                    <a:pt x="2616" y="902"/>
                  </a:cubicBezTo>
                  <a:cubicBezTo>
                    <a:pt x="2678" y="1025"/>
                    <a:pt x="2696" y="1097"/>
                    <a:pt x="2696" y="1223"/>
                  </a:cubicBezTo>
                  <a:cubicBezTo>
                    <a:pt x="2696" y="1512"/>
                    <a:pt x="2524" y="1755"/>
                    <a:pt x="2249" y="1853"/>
                  </a:cubicBezTo>
                  <a:cubicBezTo>
                    <a:pt x="2164" y="1884"/>
                    <a:pt x="2028" y="1900"/>
                    <a:pt x="1945" y="189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20EE7300-1920-4D9C-A57E-45AB462C9AD0}"/>
              </a:ext>
            </a:extLst>
          </p:cNvPr>
          <p:cNvSpPr/>
          <p:nvPr/>
        </p:nvSpPr>
        <p:spPr>
          <a:xfrm>
            <a:off x="7518490" y="3148263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F23C1D0-441F-4DB2-ACF2-E2DD29D0057B}"/>
              </a:ext>
            </a:extLst>
          </p:cNvPr>
          <p:cNvSpPr/>
          <p:nvPr/>
        </p:nvSpPr>
        <p:spPr>
          <a:xfrm>
            <a:off x="9585623" y="4306460"/>
            <a:ext cx="298889" cy="29888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455947" y="926896"/>
            <a:ext cx="13646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The Right Career!</a:t>
            </a:r>
            <a:endParaRPr lang="en-US" sz="1400" dirty="0"/>
          </a:p>
        </p:txBody>
      </p:sp>
      <p:sp>
        <p:nvSpPr>
          <p:cNvPr id="10" name="Plus 9"/>
          <p:cNvSpPr/>
          <p:nvPr/>
        </p:nvSpPr>
        <p:spPr>
          <a:xfrm>
            <a:off x="3442039" y="3296676"/>
            <a:ext cx="474453" cy="483080"/>
          </a:xfrm>
          <a:prstGeom prst="mathPl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60" name="Plus 59"/>
          <p:cNvSpPr/>
          <p:nvPr/>
        </p:nvSpPr>
        <p:spPr>
          <a:xfrm>
            <a:off x="5322032" y="1747428"/>
            <a:ext cx="474453" cy="483080"/>
          </a:xfrm>
          <a:prstGeom prst="mathPl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B204B01-4765-4407-A0BE-A8E001ACB48B}"/>
              </a:ext>
            </a:extLst>
          </p:cNvPr>
          <p:cNvGrpSpPr/>
          <p:nvPr/>
        </p:nvGrpSpPr>
        <p:grpSpPr>
          <a:xfrm flipH="1">
            <a:off x="1" y="4460421"/>
            <a:ext cx="12191999" cy="2419506"/>
            <a:chOff x="1" y="4460421"/>
            <a:chExt cx="12191999" cy="2419506"/>
          </a:xfrm>
        </p:grpSpPr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FCDAB66-6697-4928-9A5E-0BBC074B0DAD}"/>
                </a:ext>
              </a:extLst>
            </p:cNvPr>
            <p:cNvSpPr/>
            <p:nvPr/>
          </p:nvSpPr>
          <p:spPr>
            <a:xfrm>
              <a:off x="1" y="4460421"/>
              <a:ext cx="12191999" cy="2416629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  <p:sp useBgFill="1"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04221490-9EAC-4168-8A93-AC881F3E65AC}"/>
                </a:ext>
              </a:extLst>
            </p:cNvPr>
            <p:cNvSpPr/>
            <p:nvPr/>
          </p:nvSpPr>
          <p:spPr>
            <a:xfrm>
              <a:off x="1" y="4611667"/>
              <a:ext cx="12191999" cy="2268260"/>
            </a:xfrm>
            <a:custGeom>
              <a:avLst/>
              <a:gdLst>
                <a:gd name="connsiteX0" fmla="*/ 8957869 w 12191999"/>
                <a:gd name="connsiteY0" fmla="*/ 2 h 2735201"/>
                <a:gd name="connsiteX1" fmla="*/ 10308907 w 12191999"/>
                <a:gd name="connsiteY1" fmla="*/ 807424 h 2735201"/>
                <a:gd name="connsiteX2" fmla="*/ 10570413 w 12191999"/>
                <a:gd name="connsiteY2" fmla="*/ 1015401 h 2735201"/>
                <a:gd name="connsiteX3" fmla="*/ 11524632 w 12191999"/>
                <a:gd name="connsiteY3" fmla="*/ 1661816 h 2735201"/>
                <a:gd name="connsiteX4" fmla="*/ 11624783 w 12191999"/>
                <a:gd name="connsiteY4" fmla="*/ 1833257 h 2735201"/>
                <a:gd name="connsiteX5" fmla="*/ 11852906 w 12191999"/>
                <a:gd name="connsiteY5" fmla="*/ 1836067 h 2735201"/>
                <a:gd name="connsiteX6" fmla="*/ 12144607 w 12191999"/>
                <a:gd name="connsiteY6" fmla="*/ 1878209 h 2735201"/>
                <a:gd name="connsiteX7" fmla="*/ 12191999 w 12191999"/>
                <a:gd name="connsiteY7" fmla="*/ 1894228 h 2735201"/>
                <a:gd name="connsiteX8" fmla="*/ 12191999 w 12191999"/>
                <a:gd name="connsiteY8" fmla="*/ 2735201 h 2735201"/>
                <a:gd name="connsiteX9" fmla="*/ 6452313 w 12191999"/>
                <a:gd name="connsiteY9" fmla="*/ 2735201 h 2735201"/>
                <a:gd name="connsiteX10" fmla="*/ 5172234 w 12191999"/>
                <a:gd name="connsiteY10" fmla="*/ 2735201 h 2735201"/>
                <a:gd name="connsiteX11" fmla="*/ 2657884 w 12191999"/>
                <a:gd name="connsiteY11" fmla="*/ 2735201 h 2735201"/>
                <a:gd name="connsiteX12" fmla="*/ 1235768 w 12191999"/>
                <a:gd name="connsiteY12" fmla="*/ 2735201 h 2735201"/>
                <a:gd name="connsiteX13" fmla="*/ 0 w 12191999"/>
                <a:gd name="connsiteY13" fmla="*/ 2735201 h 2735201"/>
                <a:gd name="connsiteX14" fmla="*/ 0 w 12191999"/>
                <a:gd name="connsiteY14" fmla="*/ 1746328 h 2735201"/>
                <a:gd name="connsiteX15" fmla="*/ 39705 w 12191999"/>
                <a:gd name="connsiteY15" fmla="*/ 1798250 h 2735201"/>
                <a:gd name="connsiteX16" fmla="*/ 186799 w 12191999"/>
                <a:gd name="connsiteY16" fmla="*/ 1760135 h 2735201"/>
                <a:gd name="connsiteX17" fmla="*/ 729916 w 12191999"/>
                <a:gd name="connsiteY17" fmla="*/ 1594336 h 2735201"/>
                <a:gd name="connsiteX18" fmla="*/ 1325836 w 12191999"/>
                <a:gd name="connsiteY18" fmla="*/ 1847799 h 2735201"/>
                <a:gd name="connsiteX19" fmla="*/ 1534160 w 12191999"/>
                <a:gd name="connsiteY19" fmla="*/ 2150335 h 2735201"/>
                <a:gd name="connsiteX20" fmla="*/ 1544687 w 12191999"/>
                <a:gd name="connsiteY20" fmla="*/ 2171439 h 2735201"/>
                <a:gd name="connsiteX21" fmla="*/ 1545220 w 12191999"/>
                <a:gd name="connsiteY21" fmla="*/ 2170800 h 2735201"/>
                <a:gd name="connsiteX22" fmla="*/ 2359487 w 12191999"/>
                <a:gd name="connsiteY22" fmla="*/ 1859106 h 2735201"/>
                <a:gd name="connsiteX23" fmla="*/ 2704296 w 12191999"/>
                <a:gd name="connsiteY23" fmla="*/ 1775434 h 2735201"/>
                <a:gd name="connsiteX24" fmla="*/ 3093885 w 12191999"/>
                <a:gd name="connsiteY24" fmla="*/ 1196514 h 2735201"/>
                <a:gd name="connsiteX25" fmla="*/ 4197720 w 12191999"/>
                <a:gd name="connsiteY25" fmla="*/ 769108 h 2735201"/>
                <a:gd name="connsiteX26" fmla="*/ 5288121 w 12191999"/>
                <a:gd name="connsiteY26" fmla="*/ 1189730 h 2735201"/>
                <a:gd name="connsiteX27" fmla="*/ 5636569 w 12191999"/>
                <a:gd name="connsiteY27" fmla="*/ 1639184 h 2735201"/>
                <a:gd name="connsiteX28" fmla="*/ 5669040 w 12191999"/>
                <a:gd name="connsiteY28" fmla="*/ 1715253 h 2735201"/>
                <a:gd name="connsiteX29" fmla="*/ 5772236 w 12191999"/>
                <a:gd name="connsiteY29" fmla="*/ 1691376 h 2735201"/>
                <a:gd name="connsiteX30" fmla="*/ 6094206 w 12191999"/>
                <a:gd name="connsiteY30" fmla="*/ 1703974 h 2735201"/>
                <a:gd name="connsiteX31" fmla="*/ 6275035 w 12191999"/>
                <a:gd name="connsiteY31" fmla="*/ 1642143 h 2735201"/>
                <a:gd name="connsiteX32" fmla="*/ 6742408 w 12191999"/>
                <a:gd name="connsiteY32" fmla="*/ 1240241 h 2735201"/>
                <a:gd name="connsiteX33" fmla="*/ 7184742 w 12191999"/>
                <a:gd name="connsiteY33" fmla="*/ 1169978 h 2735201"/>
                <a:gd name="connsiteX34" fmla="*/ 7465723 w 12191999"/>
                <a:gd name="connsiteY34" fmla="*/ 1169978 h 2735201"/>
                <a:gd name="connsiteX35" fmla="*/ 7521362 w 12191999"/>
                <a:gd name="connsiteY35" fmla="*/ 1018211 h 2735201"/>
                <a:gd name="connsiteX36" fmla="*/ 7958133 w 12191999"/>
                <a:gd name="connsiteY36" fmla="*/ 374606 h 2735201"/>
                <a:gd name="connsiteX37" fmla="*/ 8728742 w 12191999"/>
                <a:gd name="connsiteY37" fmla="*/ 20483 h 2735201"/>
                <a:gd name="connsiteX38" fmla="*/ 8957869 w 12191999"/>
                <a:gd name="connsiteY38" fmla="*/ 2 h 2735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191999" h="2735201">
                  <a:moveTo>
                    <a:pt x="8957869" y="2"/>
                  </a:moveTo>
                  <a:cubicBezTo>
                    <a:pt x="9496785" y="-728"/>
                    <a:pt x="10050878" y="320504"/>
                    <a:pt x="10308907" y="807424"/>
                  </a:cubicBezTo>
                  <a:cubicBezTo>
                    <a:pt x="10406276" y="990106"/>
                    <a:pt x="10417404" y="1001348"/>
                    <a:pt x="10570413" y="1015401"/>
                  </a:cubicBezTo>
                  <a:cubicBezTo>
                    <a:pt x="10907033" y="1049127"/>
                    <a:pt x="11329893" y="1335798"/>
                    <a:pt x="11524632" y="1661816"/>
                  </a:cubicBezTo>
                  <a:lnTo>
                    <a:pt x="11624783" y="1833257"/>
                  </a:lnTo>
                  <a:lnTo>
                    <a:pt x="11852906" y="1836067"/>
                  </a:lnTo>
                  <a:cubicBezTo>
                    <a:pt x="11954101" y="1837121"/>
                    <a:pt x="12052165" y="1851613"/>
                    <a:pt x="12144607" y="1878209"/>
                  </a:cubicBezTo>
                  <a:lnTo>
                    <a:pt x="12191999" y="1894228"/>
                  </a:lnTo>
                  <a:lnTo>
                    <a:pt x="12191999" y="2735201"/>
                  </a:lnTo>
                  <a:lnTo>
                    <a:pt x="6452313" y="2735201"/>
                  </a:lnTo>
                  <a:lnTo>
                    <a:pt x="5172234" y="2735201"/>
                  </a:lnTo>
                  <a:lnTo>
                    <a:pt x="2657884" y="2735201"/>
                  </a:lnTo>
                  <a:lnTo>
                    <a:pt x="1235768" y="2735201"/>
                  </a:lnTo>
                  <a:lnTo>
                    <a:pt x="0" y="2735201"/>
                  </a:lnTo>
                  <a:lnTo>
                    <a:pt x="0" y="1746328"/>
                  </a:lnTo>
                  <a:lnTo>
                    <a:pt x="39705" y="1798250"/>
                  </a:lnTo>
                  <a:cubicBezTo>
                    <a:pt x="66106" y="1836365"/>
                    <a:pt x="77421" y="1834459"/>
                    <a:pt x="186799" y="1760135"/>
                  </a:cubicBezTo>
                  <a:cubicBezTo>
                    <a:pt x="360295" y="1641979"/>
                    <a:pt x="511160" y="1596242"/>
                    <a:pt x="729916" y="1594336"/>
                  </a:cubicBezTo>
                  <a:cubicBezTo>
                    <a:pt x="971301" y="1594336"/>
                    <a:pt x="1152340" y="1670566"/>
                    <a:pt x="1325836" y="1847799"/>
                  </a:cubicBezTo>
                  <a:cubicBezTo>
                    <a:pt x="1391840" y="1916882"/>
                    <a:pt x="1478470" y="2046264"/>
                    <a:pt x="1534160" y="2150335"/>
                  </a:cubicBezTo>
                  <a:lnTo>
                    <a:pt x="1544687" y="2171439"/>
                  </a:lnTo>
                  <a:lnTo>
                    <a:pt x="1545220" y="2170800"/>
                  </a:lnTo>
                  <a:cubicBezTo>
                    <a:pt x="1757752" y="1956629"/>
                    <a:pt x="2065617" y="1826598"/>
                    <a:pt x="2359487" y="1859106"/>
                  </a:cubicBezTo>
                  <a:cubicBezTo>
                    <a:pt x="2679667" y="1895288"/>
                    <a:pt x="2655038" y="1899811"/>
                    <a:pt x="2704296" y="1775434"/>
                  </a:cubicBezTo>
                  <a:cubicBezTo>
                    <a:pt x="2766988" y="1610351"/>
                    <a:pt x="2977456" y="1300538"/>
                    <a:pt x="3093885" y="1196514"/>
                  </a:cubicBezTo>
                  <a:cubicBezTo>
                    <a:pt x="3416303" y="909315"/>
                    <a:pt x="3779024" y="769108"/>
                    <a:pt x="4197720" y="769108"/>
                  </a:cubicBezTo>
                  <a:cubicBezTo>
                    <a:pt x="4643284" y="769108"/>
                    <a:pt x="4974659" y="895747"/>
                    <a:pt x="5288121" y="1189730"/>
                  </a:cubicBezTo>
                  <a:cubicBezTo>
                    <a:pt x="5431418" y="1323153"/>
                    <a:pt x="5548967" y="1475232"/>
                    <a:pt x="5636569" y="1639184"/>
                  </a:cubicBezTo>
                  <a:lnTo>
                    <a:pt x="5669040" y="1715253"/>
                  </a:lnTo>
                  <a:lnTo>
                    <a:pt x="5772236" y="1691376"/>
                  </a:lnTo>
                  <a:cubicBezTo>
                    <a:pt x="5883471" y="1672751"/>
                    <a:pt x="5995098" y="1675518"/>
                    <a:pt x="6094206" y="1703974"/>
                  </a:cubicBezTo>
                  <a:cubicBezTo>
                    <a:pt x="6216613" y="1737700"/>
                    <a:pt x="6227741" y="1734889"/>
                    <a:pt x="6275035" y="1642143"/>
                  </a:cubicBezTo>
                  <a:cubicBezTo>
                    <a:pt x="6344584" y="1507239"/>
                    <a:pt x="6553233" y="1327367"/>
                    <a:pt x="6742408" y="1240241"/>
                  </a:cubicBezTo>
                  <a:cubicBezTo>
                    <a:pt x="6862033" y="1186841"/>
                    <a:pt x="6973312" y="1167168"/>
                    <a:pt x="7184742" y="1169978"/>
                  </a:cubicBezTo>
                  <a:lnTo>
                    <a:pt x="7465723" y="1169978"/>
                  </a:lnTo>
                  <a:lnTo>
                    <a:pt x="7521362" y="1018211"/>
                  </a:lnTo>
                  <a:cubicBezTo>
                    <a:pt x="7599258" y="807424"/>
                    <a:pt x="7807906" y="501079"/>
                    <a:pt x="7958133" y="374606"/>
                  </a:cubicBezTo>
                  <a:cubicBezTo>
                    <a:pt x="8152872" y="208787"/>
                    <a:pt x="8458889" y="71072"/>
                    <a:pt x="8728742" y="20483"/>
                  </a:cubicBezTo>
                  <a:cubicBezTo>
                    <a:pt x="8804203" y="6782"/>
                    <a:pt x="8880881" y="107"/>
                    <a:pt x="8957869" y="2"/>
                  </a:cubicBezTo>
                  <a:close/>
                </a:path>
              </a:pathLst>
            </a:custGeom>
            <a:ln w="9525">
              <a:noFill/>
            </a:ln>
            <a:effectLst>
              <a:outerShdw blurRad="241300" dist="38100" dir="1440000" algn="tl" rotWithShape="0">
                <a:schemeClr val="bg1">
                  <a:alpha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N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FC8FE9CB-A058-4DA4-B308-1EAC0AFC8C4F}"/>
              </a:ext>
            </a:extLst>
          </p:cNvPr>
          <p:cNvGrpSpPr/>
          <p:nvPr/>
        </p:nvGrpSpPr>
        <p:grpSpPr>
          <a:xfrm>
            <a:off x="1923522" y="3402991"/>
            <a:ext cx="1746470" cy="1746470"/>
            <a:chOff x="1136993" y="3428625"/>
            <a:chExt cx="1746470" cy="1746470"/>
          </a:xfrm>
          <a:effectLst/>
        </p:grpSpPr>
        <p:sp>
          <p:nvSpPr>
            <p:cNvPr id="299" name="Oval 298">
              <a:extLst>
                <a:ext uri="{FF2B5EF4-FFF2-40B4-BE49-F238E27FC236}">
                  <a16:creationId xmlns:a16="http://schemas.microsoft.com/office/drawing/2014/main" id="{00D2976D-7914-487E-8583-AD675380765F}"/>
                </a:ext>
              </a:extLst>
            </p:cNvPr>
            <p:cNvSpPr/>
            <p:nvPr/>
          </p:nvSpPr>
          <p:spPr>
            <a:xfrm>
              <a:off x="1136993" y="3428625"/>
              <a:ext cx="1746470" cy="17464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053C35A7-24C3-4177-A10B-34F7D3E9DE4E}"/>
                </a:ext>
              </a:extLst>
            </p:cNvPr>
            <p:cNvSpPr/>
            <p:nvPr/>
          </p:nvSpPr>
          <p:spPr>
            <a:xfrm>
              <a:off x="1186864" y="3969368"/>
              <a:ext cx="164672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1800" b="1" dirty="0" smtClean="0">
                  <a:solidFill>
                    <a:schemeClr val="bg1"/>
                  </a:solidFill>
                </a:rPr>
                <a:t>ESSENTIAL SKILLS</a:t>
              </a:r>
              <a:endParaRPr lang="en-IN" sz="1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5845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226289" y="1616145"/>
            <a:ext cx="9739423" cy="2541182"/>
            <a:chOff x="1020727" y="1616145"/>
            <a:chExt cx="9739423" cy="2541182"/>
          </a:xfrm>
        </p:grpSpPr>
        <p:sp>
          <p:nvSpPr>
            <p:cNvPr id="2" name="Rectangle 1"/>
            <p:cNvSpPr/>
            <p:nvPr/>
          </p:nvSpPr>
          <p:spPr>
            <a:xfrm>
              <a:off x="1020727" y="1616145"/>
              <a:ext cx="2327482" cy="22856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US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asic Skills Plu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1020727" y="4043754"/>
              <a:ext cx="2327482" cy="11357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3500605" y="1616145"/>
              <a:ext cx="2327482" cy="22856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US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current Curriculum Course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500605" y="4043754"/>
              <a:ext cx="2327482" cy="11357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966635" y="1616145"/>
              <a:ext cx="2327482" cy="22856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US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inancial &amp; Employer Support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966635" y="4043754"/>
              <a:ext cx="2327482" cy="11357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432668" y="1616145"/>
              <a:ext cx="2327482" cy="228564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US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Work-Based Learning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432668" y="4043754"/>
              <a:ext cx="2327482" cy="11357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19"/>
            <p:cNvGrpSpPr>
              <a:grpSpLocks noChangeAspect="1"/>
            </p:cNvGrpSpPr>
            <p:nvPr/>
          </p:nvGrpSpPr>
          <p:grpSpPr bwMode="auto">
            <a:xfrm>
              <a:off x="6773144" y="2168765"/>
              <a:ext cx="741348" cy="684633"/>
              <a:chOff x="252" y="148"/>
              <a:chExt cx="915" cy="845"/>
            </a:xfrm>
            <a:solidFill>
              <a:schemeClr val="bg1"/>
            </a:solidFill>
          </p:grpSpPr>
          <p:sp>
            <p:nvSpPr>
              <p:cNvPr id="35" name="Freeform 21"/>
              <p:cNvSpPr>
                <a:spLocks/>
              </p:cNvSpPr>
              <p:nvPr/>
            </p:nvSpPr>
            <p:spPr bwMode="auto">
              <a:xfrm>
                <a:off x="252" y="668"/>
                <a:ext cx="915" cy="157"/>
              </a:xfrm>
              <a:custGeom>
                <a:avLst/>
                <a:gdLst>
                  <a:gd name="T0" fmla="*/ 3661 w 3661"/>
                  <a:gd name="T1" fmla="*/ 0 h 631"/>
                  <a:gd name="T2" fmla="*/ 3661 w 3661"/>
                  <a:gd name="T3" fmla="*/ 291 h 631"/>
                  <a:gd name="T4" fmla="*/ 3658 w 3661"/>
                  <a:gd name="T5" fmla="*/ 337 h 631"/>
                  <a:gd name="T6" fmla="*/ 3649 w 3661"/>
                  <a:gd name="T7" fmla="*/ 381 h 631"/>
                  <a:gd name="T8" fmla="*/ 3634 w 3661"/>
                  <a:gd name="T9" fmla="*/ 423 h 631"/>
                  <a:gd name="T10" fmla="*/ 3615 w 3661"/>
                  <a:gd name="T11" fmla="*/ 463 h 631"/>
                  <a:gd name="T12" fmla="*/ 3591 w 3661"/>
                  <a:gd name="T13" fmla="*/ 499 h 631"/>
                  <a:gd name="T14" fmla="*/ 3562 w 3661"/>
                  <a:gd name="T15" fmla="*/ 532 h 631"/>
                  <a:gd name="T16" fmla="*/ 3529 w 3661"/>
                  <a:gd name="T17" fmla="*/ 560 h 631"/>
                  <a:gd name="T18" fmla="*/ 3494 w 3661"/>
                  <a:gd name="T19" fmla="*/ 585 h 631"/>
                  <a:gd name="T20" fmla="*/ 3455 w 3661"/>
                  <a:gd name="T21" fmla="*/ 605 h 631"/>
                  <a:gd name="T22" fmla="*/ 3413 w 3661"/>
                  <a:gd name="T23" fmla="*/ 620 h 631"/>
                  <a:gd name="T24" fmla="*/ 3370 w 3661"/>
                  <a:gd name="T25" fmla="*/ 629 h 631"/>
                  <a:gd name="T26" fmla="*/ 3324 w 3661"/>
                  <a:gd name="T27" fmla="*/ 631 h 631"/>
                  <a:gd name="T28" fmla="*/ 337 w 3661"/>
                  <a:gd name="T29" fmla="*/ 631 h 631"/>
                  <a:gd name="T30" fmla="*/ 296 w 3661"/>
                  <a:gd name="T31" fmla="*/ 629 h 631"/>
                  <a:gd name="T32" fmla="*/ 254 w 3661"/>
                  <a:gd name="T33" fmla="*/ 620 h 631"/>
                  <a:gd name="T34" fmla="*/ 215 w 3661"/>
                  <a:gd name="T35" fmla="*/ 607 h 631"/>
                  <a:gd name="T36" fmla="*/ 178 w 3661"/>
                  <a:gd name="T37" fmla="*/ 591 h 631"/>
                  <a:gd name="T38" fmla="*/ 146 w 3661"/>
                  <a:gd name="T39" fmla="*/ 575 h 631"/>
                  <a:gd name="T40" fmla="*/ 122 w 3661"/>
                  <a:gd name="T41" fmla="*/ 555 h 631"/>
                  <a:gd name="T42" fmla="*/ 100 w 3661"/>
                  <a:gd name="T43" fmla="*/ 535 h 631"/>
                  <a:gd name="T44" fmla="*/ 79 w 3661"/>
                  <a:gd name="T45" fmla="*/ 509 h 631"/>
                  <a:gd name="T46" fmla="*/ 59 w 3661"/>
                  <a:gd name="T47" fmla="*/ 478 h 631"/>
                  <a:gd name="T48" fmla="*/ 40 w 3661"/>
                  <a:gd name="T49" fmla="*/ 445 h 631"/>
                  <a:gd name="T50" fmla="*/ 25 w 3661"/>
                  <a:gd name="T51" fmla="*/ 408 h 631"/>
                  <a:gd name="T52" fmla="*/ 11 w 3661"/>
                  <a:gd name="T53" fmla="*/ 370 h 631"/>
                  <a:gd name="T54" fmla="*/ 3 w 3661"/>
                  <a:gd name="T55" fmla="*/ 330 h 631"/>
                  <a:gd name="T56" fmla="*/ 0 w 3661"/>
                  <a:gd name="T57" fmla="*/ 291 h 631"/>
                  <a:gd name="T58" fmla="*/ 0 w 3661"/>
                  <a:gd name="T59" fmla="*/ 56 h 631"/>
                  <a:gd name="T60" fmla="*/ 71 w 3661"/>
                  <a:gd name="T61" fmla="*/ 56 h 631"/>
                  <a:gd name="T62" fmla="*/ 122 w 3661"/>
                  <a:gd name="T63" fmla="*/ 83 h 631"/>
                  <a:gd name="T64" fmla="*/ 173 w 3661"/>
                  <a:gd name="T65" fmla="*/ 103 h 631"/>
                  <a:gd name="T66" fmla="*/ 226 w 3661"/>
                  <a:gd name="T67" fmla="*/ 119 h 631"/>
                  <a:gd name="T68" fmla="*/ 281 w 3661"/>
                  <a:gd name="T69" fmla="*/ 128 h 631"/>
                  <a:gd name="T70" fmla="*/ 337 w 3661"/>
                  <a:gd name="T71" fmla="*/ 131 h 631"/>
                  <a:gd name="T72" fmla="*/ 555 w 3661"/>
                  <a:gd name="T73" fmla="*/ 131 h 631"/>
                  <a:gd name="T74" fmla="*/ 591 w 3661"/>
                  <a:gd name="T75" fmla="*/ 176 h 631"/>
                  <a:gd name="T76" fmla="*/ 623 w 3661"/>
                  <a:gd name="T77" fmla="*/ 222 h 631"/>
                  <a:gd name="T78" fmla="*/ 653 w 3661"/>
                  <a:gd name="T79" fmla="*/ 270 h 631"/>
                  <a:gd name="T80" fmla="*/ 679 w 3661"/>
                  <a:gd name="T81" fmla="*/ 322 h 631"/>
                  <a:gd name="T82" fmla="*/ 703 w 3661"/>
                  <a:gd name="T83" fmla="*/ 378 h 631"/>
                  <a:gd name="T84" fmla="*/ 2956 w 3661"/>
                  <a:gd name="T85" fmla="*/ 378 h 631"/>
                  <a:gd name="T86" fmla="*/ 2977 w 3661"/>
                  <a:gd name="T87" fmla="*/ 322 h 631"/>
                  <a:gd name="T88" fmla="*/ 3002 w 3661"/>
                  <a:gd name="T89" fmla="*/ 270 h 631"/>
                  <a:gd name="T90" fmla="*/ 3031 w 3661"/>
                  <a:gd name="T91" fmla="*/ 222 h 631"/>
                  <a:gd name="T92" fmla="*/ 3061 w 3661"/>
                  <a:gd name="T93" fmla="*/ 176 h 631"/>
                  <a:gd name="T94" fmla="*/ 3096 w 3661"/>
                  <a:gd name="T95" fmla="*/ 131 h 631"/>
                  <a:gd name="T96" fmla="*/ 3324 w 3661"/>
                  <a:gd name="T97" fmla="*/ 131 h 631"/>
                  <a:gd name="T98" fmla="*/ 3379 w 3661"/>
                  <a:gd name="T99" fmla="*/ 129 h 631"/>
                  <a:gd name="T100" fmla="*/ 3432 w 3661"/>
                  <a:gd name="T101" fmla="*/ 120 h 631"/>
                  <a:gd name="T102" fmla="*/ 3484 w 3661"/>
                  <a:gd name="T103" fmla="*/ 105 h 631"/>
                  <a:gd name="T104" fmla="*/ 3532 w 3661"/>
                  <a:gd name="T105" fmla="*/ 86 h 631"/>
                  <a:gd name="T106" fmla="*/ 3579 w 3661"/>
                  <a:gd name="T107" fmla="*/ 62 h 631"/>
                  <a:gd name="T108" fmla="*/ 3621 w 3661"/>
                  <a:gd name="T109" fmla="*/ 33 h 631"/>
                  <a:gd name="T110" fmla="*/ 3661 w 3661"/>
                  <a:gd name="T111" fmla="*/ 0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661" h="631">
                    <a:moveTo>
                      <a:pt x="3661" y="0"/>
                    </a:moveTo>
                    <a:lnTo>
                      <a:pt x="3661" y="291"/>
                    </a:lnTo>
                    <a:lnTo>
                      <a:pt x="3658" y="337"/>
                    </a:lnTo>
                    <a:lnTo>
                      <a:pt x="3649" y="381"/>
                    </a:lnTo>
                    <a:lnTo>
                      <a:pt x="3634" y="423"/>
                    </a:lnTo>
                    <a:lnTo>
                      <a:pt x="3615" y="463"/>
                    </a:lnTo>
                    <a:lnTo>
                      <a:pt x="3591" y="499"/>
                    </a:lnTo>
                    <a:lnTo>
                      <a:pt x="3562" y="532"/>
                    </a:lnTo>
                    <a:lnTo>
                      <a:pt x="3529" y="560"/>
                    </a:lnTo>
                    <a:lnTo>
                      <a:pt x="3494" y="585"/>
                    </a:lnTo>
                    <a:lnTo>
                      <a:pt x="3455" y="605"/>
                    </a:lnTo>
                    <a:lnTo>
                      <a:pt x="3413" y="620"/>
                    </a:lnTo>
                    <a:lnTo>
                      <a:pt x="3370" y="629"/>
                    </a:lnTo>
                    <a:lnTo>
                      <a:pt x="3324" y="631"/>
                    </a:lnTo>
                    <a:lnTo>
                      <a:pt x="337" y="631"/>
                    </a:lnTo>
                    <a:lnTo>
                      <a:pt x="296" y="629"/>
                    </a:lnTo>
                    <a:lnTo>
                      <a:pt x="254" y="620"/>
                    </a:lnTo>
                    <a:lnTo>
                      <a:pt x="215" y="607"/>
                    </a:lnTo>
                    <a:lnTo>
                      <a:pt x="178" y="591"/>
                    </a:lnTo>
                    <a:lnTo>
                      <a:pt x="146" y="575"/>
                    </a:lnTo>
                    <a:lnTo>
                      <a:pt x="122" y="555"/>
                    </a:lnTo>
                    <a:lnTo>
                      <a:pt x="100" y="535"/>
                    </a:lnTo>
                    <a:lnTo>
                      <a:pt x="79" y="509"/>
                    </a:lnTo>
                    <a:lnTo>
                      <a:pt x="59" y="478"/>
                    </a:lnTo>
                    <a:lnTo>
                      <a:pt x="40" y="445"/>
                    </a:lnTo>
                    <a:lnTo>
                      <a:pt x="25" y="408"/>
                    </a:lnTo>
                    <a:lnTo>
                      <a:pt x="11" y="370"/>
                    </a:lnTo>
                    <a:lnTo>
                      <a:pt x="3" y="330"/>
                    </a:lnTo>
                    <a:lnTo>
                      <a:pt x="0" y="291"/>
                    </a:lnTo>
                    <a:lnTo>
                      <a:pt x="0" y="56"/>
                    </a:lnTo>
                    <a:lnTo>
                      <a:pt x="71" y="56"/>
                    </a:lnTo>
                    <a:lnTo>
                      <a:pt x="122" y="83"/>
                    </a:lnTo>
                    <a:lnTo>
                      <a:pt x="173" y="103"/>
                    </a:lnTo>
                    <a:lnTo>
                      <a:pt x="226" y="119"/>
                    </a:lnTo>
                    <a:lnTo>
                      <a:pt x="281" y="128"/>
                    </a:lnTo>
                    <a:lnTo>
                      <a:pt x="337" y="131"/>
                    </a:lnTo>
                    <a:lnTo>
                      <a:pt x="555" y="131"/>
                    </a:lnTo>
                    <a:lnTo>
                      <a:pt x="591" y="176"/>
                    </a:lnTo>
                    <a:lnTo>
                      <a:pt x="623" y="222"/>
                    </a:lnTo>
                    <a:lnTo>
                      <a:pt x="653" y="270"/>
                    </a:lnTo>
                    <a:lnTo>
                      <a:pt x="679" y="322"/>
                    </a:lnTo>
                    <a:lnTo>
                      <a:pt x="703" y="378"/>
                    </a:lnTo>
                    <a:lnTo>
                      <a:pt x="2956" y="378"/>
                    </a:lnTo>
                    <a:lnTo>
                      <a:pt x="2977" y="322"/>
                    </a:lnTo>
                    <a:lnTo>
                      <a:pt x="3002" y="270"/>
                    </a:lnTo>
                    <a:lnTo>
                      <a:pt x="3031" y="222"/>
                    </a:lnTo>
                    <a:lnTo>
                      <a:pt x="3061" y="176"/>
                    </a:lnTo>
                    <a:lnTo>
                      <a:pt x="3096" y="131"/>
                    </a:lnTo>
                    <a:lnTo>
                      <a:pt x="3324" y="131"/>
                    </a:lnTo>
                    <a:lnTo>
                      <a:pt x="3379" y="129"/>
                    </a:lnTo>
                    <a:lnTo>
                      <a:pt x="3432" y="120"/>
                    </a:lnTo>
                    <a:lnTo>
                      <a:pt x="3484" y="105"/>
                    </a:lnTo>
                    <a:lnTo>
                      <a:pt x="3532" y="86"/>
                    </a:lnTo>
                    <a:lnTo>
                      <a:pt x="3579" y="62"/>
                    </a:lnTo>
                    <a:lnTo>
                      <a:pt x="3621" y="33"/>
                    </a:lnTo>
                    <a:lnTo>
                      <a:pt x="366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2"/>
              <p:cNvSpPr>
                <a:spLocks noEditPoints="1"/>
              </p:cNvSpPr>
              <p:nvPr/>
            </p:nvSpPr>
            <p:spPr bwMode="auto">
              <a:xfrm>
                <a:off x="252" y="148"/>
                <a:ext cx="915" cy="510"/>
              </a:xfrm>
              <a:custGeom>
                <a:avLst/>
                <a:gdLst>
                  <a:gd name="T0" fmla="*/ 676 w 3661"/>
                  <a:gd name="T1" fmla="*/ 312 h 2038"/>
                  <a:gd name="T2" fmla="*/ 614 w 3661"/>
                  <a:gd name="T3" fmla="*/ 425 h 2038"/>
                  <a:gd name="T4" fmla="*/ 538 w 3661"/>
                  <a:gd name="T5" fmla="*/ 522 h 2038"/>
                  <a:gd name="T6" fmla="*/ 451 w 3661"/>
                  <a:gd name="T7" fmla="*/ 603 h 2038"/>
                  <a:gd name="T8" fmla="*/ 354 w 3661"/>
                  <a:gd name="T9" fmla="*/ 668 h 2038"/>
                  <a:gd name="T10" fmla="*/ 251 w 3661"/>
                  <a:gd name="T11" fmla="*/ 716 h 2038"/>
                  <a:gd name="T12" fmla="*/ 302 w 3661"/>
                  <a:gd name="T13" fmla="*/ 1343 h 2038"/>
                  <a:gd name="T14" fmla="*/ 401 w 3661"/>
                  <a:gd name="T15" fmla="*/ 1400 h 2038"/>
                  <a:gd name="T16" fmla="*/ 494 w 3661"/>
                  <a:gd name="T17" fmla="*/ 1475 h 2038"/>
                  <a:gd name="T18" fmla="*/ 578 w 3661"/>
                  <a:gd name="T19" fmla="*/ 1564 h 2038"/>
                  <a:gd name="T20" fmla="*/ 648 w 3661"/>
                  <a:gd name="T21" fmla="*/ 1667 h 2038"/>
                  <a:gd name="T22" fmla="*/ 703 w 3661"/>
                  <a:gd name="T23" fmla="*/ 1784 h 2038"/>
                  <a:gd name="T24" fmla="*/ 2981 w 3661"/>
                  <a:gd name="T25" fmla="*/ 1722 h 2038"/>
                  <a:gd name="T26" fmla="*/ 3042 w 3661"/>
                  <a:gd name="T27" fmla="*/ 1609 h 2038"/>
                  <a:gd name="T28" fmla="*/ 3119 w 3661"/>
                  <a:gd name="T29" fmla="*/ 1511 h 2038"/>
                  <a:gd name="T30" fmla="*/ 3208 w 3661"/>
                  <a:gd name="T31" fmla="*/ 1429 h 2038"/>
                  <a:gd name="T32" fmla="*/ 3306 w 3661"/>
                  <a:gd name="T33" fmla="*/ 1363 h 2038"/>
                  <a:gd name="T34" fmla="*/ 3411 w 3661"/>
                  <a:gd name="T35" fmla="*/ 1314 h 2038"/>
                  <a:gd name="T36" fmla="*/ 3357 w 3661"/>
                  <a:gd name="T37" fmla="*/ 699 h 2038"/>
                  <a:gd name="T38" fmla="*/ 3254 w 3661"/>
                  <a:gd name="T39" fmla="*/ 645 h 2038"/>
                  <a:gd name="T40" fmla="*/ 3161 w 3661"/>
                  <a:gd name="T41" fmla="*/ 573 h 2038"/>
                  <a:gd name="T42" fmla="*/ 3079 w 3661"/>
                  <a:gd name="T43" fmla="*/ 482 h 2038"/>
                  <a:gd name="T44" fmla="*/ 3011 w 3661"/>
                  <a:gd name="T45" fmla="*/ 375 h 2038"/>
                  <a:gd name="T46" fmla="*/ 2958 w 3661"/>
                  <a:gd name="T47" fmla="*/ 251 h 2038"/>
                  <a:gd name="T48" fmla="*/ 337 w 3661"/>
                  <a:gd name="T49" fmla="*/ 0 h 2038"/>
                  <a:gd name="T50" fmla="*/ 3370 w 3661"/>
                  <a:gd name="T51" fmla="*/ 3 h 2038"/>
                  <a:gd name="T52" fmla="*/ 3455 w 3661"/>
                  <a:gd name="T53" fmla="*/ 27 h 2038"/>
                  <a:gd name="T54" fmla="*/ 3529 w 3661"/>
                  <a:gd name="T55" fmla="*/ 70 h 2038"/>
                  <a:gd name="T56" fmla="*/ 3591 w 3661"/>
                  <a:gd name="T57" fmla="*/ 131 h 2038"/>
                  <a:gd name="T58" fmla="*/ 3634 w 3661"/>
                  <a:gd name="T59" fmla="*/ 205 h 2038"/>
                  <a:gd name="T60" fmla="*/ 3658 w 3661"/>
                  <a:gd name="T61" fmla="*/ 290 h 2038"/>
                  <a:gd name="T62" fmla="*/ 3661 w 3661"/>
                  <a:gd name="T63" fmla="*/ 1696 h 2038"/>
                  <a:gd name="T64" fmla="*/ 3649 w 3661"/>
                  <a:gd name="T65" fmla="*/ 1787 h 2038"/>
                  <a:gd name="T66" fmla="*/ 3615 w 3661"/>
                  <a:gd name="T67" fmla="*/ 1868 h 2038"/>
                  <a:gd name="T68" fmla="*/ 3562 w 3661"/>
                  <a:gd name="T69" fmla="*/ 1937 h 2038"/>
                  <a:gd name="T70" fmla="*/ 3494 w 3661"/>
                  <a:gd name="T71" fmla="*/ 1992 h 2038"/>
                  <a:gd name="T72" fmla="*/ 3413 w 3661"/>
                  <a:gd name="T73" fmla="*/ 2025 h 2038"/>
                  <a:gd name="T74" fmla="*/ 3324 w 3661"/>
                  <a:gd name="T75" fmla="*/ 2038 h 2038"/>
                  <a:gd name="T76" fmla="*/ 296 w 3661"/>
                  <a:gd name="T77" fmla="*/ 2034 h 2038"/>
                  <a:gd name="T78" fmla="*/ 215 w 3661"/>
                  <a:gd name="T79" fmla="*/ 2014 h 2038"/>
                  <a:gd name="T80" fmla="*/ 146 w 3661"/>
                  <a:gd name="T81" fmla="*/ 1980 h 2038"/>
                  <a:gd name="T82" fmla="*/ 100 w 3661"/>
                  <a:gd name="T83" fmla="*/ 1941 h 2038"/>
                  <a:gd name="T84" fmla="*/ 59 w 3661"/>
                  <a:gd name="T85" fmla="*/ 1884 h 2038"/>
                  <a:gd name="T86" fmla="*/ 25 w 3661"/>
                  <a:gd name="T87" fmla="*/ 1814 h 2038"/>
                  <a:gd name="T88" fmla="*/ 3 w 3661"/>
                  <a:gd name="T89" fmla="*/ 1736 h 2038"/>
                  <a:gd name="T90" fmla="*/ 0 w 3661"/>
                  <a:gd name="T91" fmla="*/ 337 h 2038"/>
                  <a:gd name="T92" fmla="*/ 12 w 3661"/>
                  <a:gd name="T93" fmla="*/ 246 h 2038"/>
                  <a:gd name="T94" fmla="*/ 46 w 3661"/>
                  <a:gd name="T95" fmla="*/ 166 h 2038"/>
                  <a:gd name="T96" fmla="*/ 99 w 3661"/>
                  <a:gd name="T97" fmla="*/ 98 h 2038"/>
                  <a:gd name="T98" fmla="*/ 167 w 3661"/>
                  <a:gd name="T99" fmla="*/ 46 h 2038"/>
                  <a:gd name="T100" fmla="*/ 248 w 3661"/>
                  <a:gd name="T101" fmla="*/ 12 h 2038"/>
                  <a:gd name="T102" fmla="*/ 337 w 3661"/>
                  <a:gd name="T103" fmla="*/ 0 h 20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661" h="2038">
                    <a:moveTo>
                      <a:pt x="701" y="251"/>
                    </a:moveTo>
                    <a:lnTo>
                      <a:pt x="676" y="312"/>
                    </a:lnTo>
                    <a:lnTo>
                      <a:pt x="647" y="371"/>
                    </a:lnTo>
                    <a:lnTo>
                      <a:pt x="614" y="425"/>
                    </a:lnTo>
                    <a:lnTo>
                      <a:pt x="578" y="475"/>
                    </a:lnTo>
                    <a:lnTo>
                      <a:pt x="538" y="522"/>
                    </a:lnTo>
                    <a:lnTo>
                      <a:pt x="495" y="565"/>
                    </a:lnTo>
                    <a:lnTo>
                      <a:pt x="451" y="603"/>
                    </a:lnTo>
                    <a:lnTo>
                      <a:pt x="403" y="637"/>
                    </a:lnTo>
                    <a:lnTo>
                      <a:pt x="354" y="668"/>
                    </a:lnTo>
                    <a:lnTo>
                      <a:pt x="303" y="695"/>
                    </a:lnTo>
                    <a:lnTo>
                      <a:pt x="251" y="716"/>
                    </a:lnTo>
                    <a:lnTo>
                      <a:pt x="251" y="1320"/>
                    </a:lnTo>
                    <a:lnTo>
                      <a:pt x="302" y="1343"/>
                    </a:lnTo>
                    <a:lnTo>
                      <a:pt x="352" y="1369"/>
                    </a:lnTo>
                    <a:lnTo>
                      <a:pt x="401" y="1400"/>
                    </a:lnTo>
                    <a:lnTo>
                      <a:pt x="448" y="1435"/>
                    </a:lnTo>
                    <a:lnTo>
                      <a:pt x="494" y="1475"/>
                    </a:lnTo>
                    <a:lnTo>
                      <a:pt x="536" y="1518"/>
                    </a:lnTo>
                    <a:lnTo>
                      <a:pt x="578" y="1564"/>
                    </a:lnTo>
                    <a:lnTo>
                      <a:pt x="614" y="1614"/>
                    </a:lnTo>
                    <a:lnTo>
                      <a:pt x="648" y="1667"/>
                    </a:lnTo>
                    <a:lnTo>
                      <a:pt x="677" y="1725"/>
                    </a:lnTo>
                    <a:lnTo>
                      <a:pt x="703" y="1784"/>
                    </a:lnTo>
                    <a:lnTo>
                      <a:pt x="2956" y="1784"/>
                    </a:lnTo>
                    <a:lnTo>
                      <a:pt x="2981" y="1722"/>
                    </a:lnTo>
                    <a:lnTo>
                      <a:pt x="3010" y="1664"/>
                    </a:lnTo>
                    <a:lnTo>
                      <a:pt x="3042" y="1609"/>
                    </a:lnTo>
                    <a:lnTo>
                      <a:pt x="3079" y="1557"/>
                    </a:lnTo>
                    <a:lnTo>
                      <a:pt x="3119" y="1511"/>
                    </a:lnTo>
                    <a:lnTo>
                      <a:pt x="3163" y="1468"/>
                    </a:lnTo>
                    <a:lnTo>
                      <a:pt x="3208" y="1429"/>
                    </a:lnTo>
                    <a:lnTo>
                      <a:pt x="3256" y="1394"/>
                    </a:lnTo>
                    <a:lnTo>
                      <a:pt x="3306" y="1363"/>
                    </a:lnTo>
                    <a:lnTo>
                      <a:pt x="3358" y="1337"/>
                    </a:lnTo>
                    <a:lnTo>
                      <a:pt x="3411" y="1314"/>
                    </a:lnTo>
                    <a:lnTo>
                      <a:pt x="3411" y="721"/>
                    </a:lnTo>
                    <a:lnTo>
                      <a:pt x="3357" y="699"/>
                    </a:lnTo>
                    <a:lnTo>
                      <a:pt x="3304" y="675"/>
                    </a:lnTo>
                    <a:lnTo>
                      <a:pt x="3254" y="645"/>
                    </a:lnTo>
                    <a:lnTo>
                      <a:pt x="3206" y="611"/>
                    </a:lnTo>
                    <a:lnTo>
                      <a:pt x="3161" y="573"/>
                    </a:lnTo>
                    <a:lnTo>
                      <a:pt x="3119" y="530"/>
                    </a:lnTo>
                    <a:lnTo>
                      <a:pt x="3079" y="482"/>
                    </a:lnTo>
                    <a:lnTo>
                      <a:pt x="3043" y="432"/>
                    </a:lnTo>
                    <a:lnTo>
                      <a:pt x="3011" y="375"/>
                    </a:lnTo>
                    <a:lnTo>
                      <a:pt x="2982" y="315"/>
                    </a:lnTo>
                    <a:lnTo>
                      <a:pt x="2958" y="251"/>
                    </a:lnTo>
                    <a:lnTo>
                      <a:pt x="701" y="251"/>
                    </a:lnTo>
                    <a:close/>
                    <a:moveTo>
                      <a:pt x="337" y="0"/>
                    </a:moveTo>
                    <a:lnTo>
                      <a:pt x="3324" y="0"/>
                    </a:lnTo>
                    <a:lnTo>
                      <a:pt x="3370" y="3"/>
                    </a:lnTo>
                    <a:lnTo>
                      <a:pt x="3413" y="12"/>
                    </a:lnTo>
                    <a:lnTo>
                      <a:pt x="3455" y="27"/>
                    </a:lnTo>
                    <a:lnTo>
                      <a:pt x="3494" y="46"/>
                    </a:lnTo>
                    <a:lnTo>
                      <a:pt x="3529" y="70"/>
                    </a:lnTo>
                    <a:lnTo>
                      <a:pt x="3562" y="98"/>
                    </a:lnTo>
                    <a:lnTo>
                      <a:pt x="3591" y="131"/>
                    </a:lnTo>
                    <a:lnTo>
                      <a:pt x="3615" y="166"/>
                    </a:lnTo>
                    <a:lnTo>
                      <a:pt x="3634" y="205"/>
                    </a:lnTo>
                    <a:lnTo>
                      <a:pt x="3649" y="246"/>
                    </a:lnTo>
                    <a:lnTo>
                      <a:pt x="3658" y="290"/>
                    </a:lnTo>
                    <a:lnTo>
                      <a:pt x="3661" y="337"/>
                    </a:lnTo>
                    <a:lnTo>
                      <a:pt x="3661" y="1696"/>
                    </a:lnTo>
                    <a:lnTo>
                      <a:pt x="3658" y="1743"/>
                    </a:lnTo>
                    <a:lnTo>
                      <a:pt x="3649" y="1787"/>
                    </a:lnTo>
                    <a:lnTo>
                      <a:pt x="3634" y="1829"/>
                    </a:lnTo>
                    <a:lnTo>
                      <a:pt x="3615" y="1868"/>
                    </a:lnTo>
                    <a:lnTo>
                      <a:pt x="3591" y="1904"/>
                    </a:lnTo>
                    <a:lnTo>
                      <a:pt x="3562" y="1937"/>
                    </a:lnTo>
                    <a:lnTo>
                      <a:pt x="3529" y="1967"/>
                    </a:lnTo>
                    <a:lnTo>
                      <a:pt x="3494" y="1992"/>
                    </a:lnTo>
                    <a:lnTo>
                      <a:pt x="3455" y="2011"/>
                    </a:lnTo>
                    <a:lnTo>
                      <a:pt x="3413" y="2025"/>
                    </a:lnTo>
                    <a:lnTo>
                      <a:pt x="3370" y="2034"/>
                    </a:lnTo>
                    <a:lnTo>
                      <a:pt x="3324" y="2038"/>
                    </a:lnTo>
                    <a:lnTo>
                      <a:pt x="337" y="2038"/>
                    </a:lnTo>
                    <a:lnTo>
                      <a:pt x="296" y="2034"/>
                    </a:lnTo>
                    <a:lnTo>
                      <a:pt x="254" y="2027"/>
                    </a:lnTo>
                    <a:lnTo>
                      <a:pt x="215" y="2014"/>
                    </a:lnTo>
                    <a:lnTo>
                      <a:pt x="178" y="1998"/>
                    </a:lnTo>
                    <a:lnTo>
                      <a:pt x="146" y="1980"/>
                    </a:lnTo>
                    <a:lnTo>
                      <a:pt x="122" y="1962"/>
                    </a:lnTo>
                    <a:lnTo>
                      <a:pt x="100" y="1941"/>
                    </a:lnTo>
                    <a:lnTo>
                      <a:pt x="79" y="1915"/>
                    </a:lnTo>
                    <a:lnTo>
                      <a:pt x="59" y="1884"/>
                    </a:lnTo>
                    <a:lnTo>
                      <a:pt x="40" y="1850"/>
                    </a:lnTo>
                    <a:lnTo>
                      <a:pt x="25" y="1814"/>
                    </a:lnTo>
                    <a:lnTo>
                      <a:pt x="11" y="1776"/>
                    </a:lnTo>
                    <a:lnTo>
                      <a:pt x="3" y="1736"/>
                    </a:lnTo>
                    <a:lnTo>
                      <a:pt x="0" y="1696"/>
                    </a:lnTo>
                    <a:lnTo>
                      <a:pt x="0" y="337"/>
                    </a:lnTo>
                    <a:lnTo>
                      <a:pt x="3" y="290"/>
                    </a:lnTo>
                    <a:lnTo>
                      <a:pt x="12" y="246"/>
                    </a:lnTo>
                    <a:lnTo>
                      <a:pt x="27" y="205"/>
                    </a:lnTo>
                    <a:lnTo>
                      <a:pt x="46" y="166"/>
                    </a:lnTo>
                    <a:lnTo>
                      <a:pt x="70" y="131"/>
                    </a:lnTo>
                    <a:lnTo>
                      <a:pt x="99" y="98"/>
                    </a:lnTo>
                    <a:lnTo>
                      <a:pt x="132" y="70"/>
                    </a:lnTo>
                    <a:lnTo>
                      <a:pt x="167" y="46"/>
                    </a:lnTo>
                    <a:lnTo>
                      <a:pt x="206" y="27"/>
                    </a:lnTo>
                    <a:lnTo>
                      <a:pt x="248" y="12"/>
                    </a:lnTo>
                    <a:lnTo>
                      <a:pt x="291" y="3"/>
                    </a:lnTo>
                    <a:lnTo>
                      <a:pt x="3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3"/>
              <p:cNvSpPr>
                <a:spLocks noEditPoints="1"/>
              </p:cNvSpPr>
              <p:nvPr/>
            </p:nvSpPr>
            <p:spPr bwMode="auto">
              <a:xfrm>
                <a:off x="560" y="252"/>
                <a:ext cx="298" cy="301"/>
              </a:xfrm>
              <a:custGeom>
                <a:avLst/>
                <a:gdLst>
                  <a:gd name="T0" fmla="*/ 507 w 1189"/>
                  <a:gd name="T1" fmla="*/ 268 h 1204"/>
                  <a:gd name="T2" fmla="*/ 417 w 1189"/>
                  <a:gd name="T3" fmla="*/ 319 h 1204"/>
                  <a:gd name="T4" fmla="*/ 367 w 1189"/>
                  <a:gd name="T5" fmla="*/ 394 h 1204"/>
                  <a:gd name="T6" fmla="*/ 359 w 1189"/>
                  <a:gd name="T7" fmla="*/ 487 h 1204"/>
                  <a:gd name="T8" fmla="*/ 393 w 1189"/>
                  <a:gd name="T9" fmla="*/ 563 h 1204"/>
                  <a:gd name="T10" fmla="*/ 461 w 1189"/>
                  <a:gd name="T11" fmla="*/ 618 h 1204"/>
                  <a:gd name="T12" fmla="*/ 555 w 1189"/>
                  <a:gd name="T13" fmla="*/ 660 h 1204"/>
                  <a:gd name="T14" fmla="*/ 644 w 1189"/>
                  <a:gd name="T15" fmla="*/ 703 h 1204"/>
                  <a:gd name="T16" fmla="*/ 672 w 1189"/>
                  <a:gd name="T17" fmla="*/ 756 h 1204"/>
                  <a:gd name="T18" fmla="*/ 649 w 1189"/>
                  <a:gd name="T19" fmla="*/ 802 h 1204"/>
                  <a:gd name="T20" fmla="*/ 591 w 1189"/>
                  <a:gd name="T21" fmla="*/ 824 h 1204"/>
                  <a:gd name="T22" fmla="*/ 484 w 1189"/>
                  <a:gd name="T23" fmla="*/ 816 h 1204"/>
                  <a:gd name="T24" fmla="*/ 384 w 1189"/>
                  <a:gd name="T25" fmla="*/ 776 h 1204"/>
                  <a:gd name="T26" fmla="*/ 414 w 1189"/>
                  <a:gd name="T27" fmla="*/ 932 h 1204"/>
                  <a:gd name="T28" fmla="*/ 539 w 1189"/>
                  <a:gd name="T29" fmla="*/ 954 h 1204"/>
                  <a:gd name="T30" fmla="*/ 644 w 1189"/>
                  <a:gd name="T31" fmla="*/ 947 h 1204"/>
                  <a:gd name="T32" fmla="*/ 750 w 1189"/>
                  <a:gd name="T33" fmla="*/ 905 h 1204"/>
                  <a:gd name="T34" fmla="*/ 817 w 1189"/>
                  <a:gd name="T35" fmla="*/ 833 h 1204"/>
                  <a:gd name="T36" fmla="*/ 839 w 1189"/>
                  <a:gd name="T37" fmla="*/ 740 h 1204"/>
                  <a:gd name="T38" fmla="*/ 816 w 1189"/>
                  <a:gd name="T39" fmla="*/ 643 h 1204"/>
                  <a:gd name="T40" fmla="*/ 741 w 1189"/>
                  <a:gd name="T41" fmla="*/ 571 h 1204"/>
                  <a:gd name="T42" fmla="*/ 620 w 1189"/>
                  <a:gd name="T43" fmla="*/ 519 h 1204"/>
                  <a:gd name="T44" fmla="*/ 548 w 1189"/>
                  <a:gd name="T45" fmla="*/ 479 h 1204"/>
                  <a:gd name="T46" fmla="*/ 526 w 1189"/>
                  <a:gd name="T47" fmla="*/ 437 h 1204"/>
                  <a:gd name="T48" fmla="*/ 537 w 1189"/>
                  <a:gd name="T49" fmla="*/ 403 h 1204"/>
                  <a:gd name="T50" fmla="*/ 575 w 1189"/>
                  <a:gd name="T51" fmla="*/ 380 h 1204"/>
                  <a:gd name="T52" fmla="*/ 652 w 1189"/>
                  <a:gd name="T53" fmla="*/ 376 h 1204"/>
                  <a:gd name="T54" fmla="*/ 729 w 1189"/>
                  <a:gd name="T55" fmla="*/ 392 h 1204"/>
                  <a:gd name="T56" fmla="*/ 778 w 1189"/>
                  <a:gd name="T57" fmla="*/ 412 h 1204"/>
                  <a:gd name="T58" fmla="*/ 760 w 1189"/>
                  <a:gd name="T59" fmla="*/ 268 h 1204"/>
                  <a:gd name="T60" fmla="*/ 652 w 1189"/>
                  <a:gd name="T61" fmla="*/ 251 h 1204"/>
                  <a:gd name="T62" fmla="*/ 595 w 1189"/>
                  <a:gd name="T63" fmla="*/ 0 h 1204"/>
                  <a:gd name="T64" fmla="*/ 782 w 1189"/>
                  <a:gd name="T65" fmla="*/ 30 h 1204"/>
                  <a:gd name="T66" fmla="*/ 946 w 1189"/>
                  <a:gd name="T67" fmla="*/ 116 h 1204"/>
                  <a:gd name="T68" fmla="*/ 1074 w 1189"/>
                  <a:gd name="T69" fmla="*/ 246 h 1204"/>
                  <a:gd name="T70" fmla="*/ 1158 w 1189"/>
                  <a:gd name="T71" fmla="*/ 411 h 1204"/>
                  <a:gd name="T72" fmla="*/ 1189 w 1189"/>
                  <a:gd name="T73" fmla="*/ 602 h 1204"/>
                  <a:gd name="T74" fmla="*/ 1158 w 1189"/>
                  <a:gd name="T75" fmla="*/ 792 h 1204"/>
                  <a:gd name="T76" fmla="*/ 1074 w 1189"/>
                  <a:gd name="T77" fmla="*/ 957 h 1204"/>
                  <a:gd name="T78" fmla="*/ 946 w 1189"/>
                  <a:gd name="T79" fmla="*/ 1087 h 1204"/>
                  <a:gd name="T80" fmla="*/ 782 w 1189"/>
                  <a:gd name="T81" fmla="*/ 1173 h 1204"/>
                  <a:gd name="T82" fmla="*/ 595 w 1189"/>
                  <a:gd name="T83" fmla="*/ 1204 h 1204"/>
                  <a:gd name="T84" fmla="*/ 407 w 1189"/>
                  <a:gd name="T85" fmla="*/ 1173 h 1204"/>
                  <a:gd name="T86" fmla="*/ 245 w 1189"/>
                  <a:gd name="T87" fmla="*/ 1087 h 1204"/>
                  <a:gd name="T88" fmla="*/ 115 w 1189"/>
                  <a:gd name="T89" fmla="*/ 957 h 1204"/>
                  <a:gd name="T90" fmla="*/ 32 w 1189"/>
                  <a:gd name="T91" fmla="*/ 792 h 1204"/>
                  <a:gd name="T92" fmla="*/ 0 w 1189"/>
                  <a:gd name="T93" fmla="*/ 602 h 1204"/>
                  <a:gd name="T94" fmla="*/ 32 w 1189"/>
                  <a:gd name="T95" fmla="*/ 411 h 1204"/>
                  <a:gd name="T96" fmla="*/ 115 w 1189"/>
                  <a:gd name="T97" fmla="*/ 246 h 1204"/>
                  <a:gd name="T98" fmla="*/ 245 w 1189"/>
                  <a:gd name="T99" fmla="*/ 116 h 1204"/>
                  <a:gd name="T100" fmla="*/ 407 w 1189"/>
                  <a:gd name="T101" fmla="*/ 30 h 1204"/>
                  <a:gd name="T102" fmla="*/ 595 w 1189"/>
                  <a:gd name="T103" fmla="*/ 0 h 1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89" h="1204">
                    <a:moveTo>
                      <a:pt x="543" y="152"/>
                    </a:moveTo>
                    <a:lnTo>
                      <a:pt x="543" y="257"/>
                    </a:lnTo>
                    <a:lnTo>
                      <a:pt x="507" y="268"/>
                    </a:lnTo>
                    <a:lnTo>
                      <a:pt x="473" y="281"/>
                    </a:lnTo>
                    <a:lnTo>
                      <a:pt x="443" y="298"/>
                    </a:lnTo>
                    <a:lnTo>
                      <a:pt x="417" y="319"/>
                    </a:lnTo>
                    <a:lnTo>
                      <a:pt x="396" y="341"/>
                    </a:lnTo>
                    <a:lnTo>
                      <a:pt x="380" y="366"/>
                    </a:lnTo>
                    <a:lnTo>
                      <a:pt x="367" y="394"/>
                    </a:lnTo>
                    <a:lnTo>
                      <a:pt x="361" y="424"/>
                    </a:lnTo>
                    <a:lnTo>
                      <a:pt x="357" y="456"/>
                    </a:lnTo>
                    <a:lnTo>
                      <a:pt x="359" y="487"/>
                    </a:lnTo>
                    <a:lnTo>
                      <a:pt x="367" y="515"/>
                    </a:lnTo>
                    <a:lnTo>
                      <a:pt x="378" y="540"/>
                    </a:lnTo>
                    <a:lnTo>
                      <a:pt x="393" y="563"/>
                    </a:lnTo>
                    <a:lnTo>
                      <a:pt x="412" y="583"/>
                    </a:lnTo>
                    <a:lnTo>
                      <a:pt x="435" y="601"/>
                    </a:lnTo>
                    <a:lnTo>
                      <a:pt x="461" y="618"/>
                    </a:lnTo>
                    <a:lnTo>
                      <a:pt x="490" y="633"/>
                    </a:lnTo>
                    <a:lnTo>
                      <a:pt x="521" y="647"/>
                    </a:lnTo>
                    <a:lnTo>
                      <a:pt x="555" y="660"/>
                    </a:lnTo>
                    <a:lnTo>
                      <a:pt x="591" y="673"/>
                    </a:lnTo>
                    <a:lnTo>
                      <a:pt x="621" y="687"/>
                    </a:lnTo>
                    <a:lnTo>
                      <a:pt x="644" y="703"/>
                    </a:lnTo>
                    <a:lnTo>
                      <a:pt x="659" y="719"/>
                    </a:lnTo>
                    <a:lnTo>
                      <a:pt x="668" y="737"/>
                    </a:lnTo>
                    <a:lnTo>
                      <a:pt x="672" y="756"/>
                    </a:lnTo>
                    <a:lnTo>
                      <a:pt x="668" y="774"/>
                    </a:lnTo>
                    <a:lnTo>
                      <a:pt x="662" y="789"/>
                    </a:lnTo>
                    <a:lnTo>
                      <a:pt x="649" y="802"/>
                    </a:lnTo>
                    <a:lnTo>
                      <a:pt x="634" y="812"/>
                    </a:lnTo>
                    <a:lnTo>
                      <a:pt x="615" y="819"/>
                    </a:lnTo>
                    <a:lnTo>
                      <a:pt x="591" y="824"/>
                    </a:lnTo>
                    <a:lnTo>
                      <a:pt x="566" y="825"/>
                    </a:lnTo>
                    <a:lnTo>
                      <a:pt x="524" y="823"/>
                    </a:lnTo>
                    <a:lnTo>
                      <a:pt x="484" y="816"/>
                    </a:lnTo>
                    <a:lnTo>
                      <a:pt x="448" y="805"/>
                    </a:lnTo>
                    <a:lnTo>
                      <a:pt x="414" y="791"/>
                    </a:lnTo>
                    <a:lnTo>
                      <a:pt x="384" y="776"/>
                    </a:lnTo>
                    <a:lnTo>
                      <a:pt x="352" y="906"/>
                    </a:lnTo>
                    <a:lnTo>
                      <a:pt x="380" y="920"/>
                    </a:lnTo>
                    <a:lnTo>
                      <a:pt x="414" y="932"/>
                    </a:lnTo>
                    <a:lnTo>
                      <a:pt x="453" y="942"/>
                    </a:lnTo>
                    <a:lnTo>
                      <a:pt x="494" y="950"/>
                    </a:lnTo>
                    <a:lnTo>
                      <a:pt x="539" y="954"/>
                    </a:lnTo>
                    <a:lnTo>
                      <a:pt x="539" y="1059"/>
                    </a:lnTo>
                    <a:lnTo>
                      <a:pt x="644" y="1059"/>
                    </a:lnTo>
                    <a:lnTo>
                      <a:pt x="644" y="947"/>
                    </a:lnTo>
                    <a:lnTo>
                      <a:pt x="683" y="937"/>
                    </a:lnTo>
                    <a:lnTo>
                      <a:pt x="719" y="923"/>
                    </a:lnTo>
                    <a:lnTo>
                      <a:pt x="750" y="905"/>
                    </a:lnTo>
                    <a:lnTo>
                      <a:pt x="777" y="884"/>
                    </a:lnTo>
                    <a:lnTo>
                      <a:pt x="799" y="860"/>
                    </a:lnTo>
                    <a:lnTo>
                      <a:pt x="817" y="833"/>
                    </a:lnTo>
                    <a:lnTo>
                      <a:pt x="829" y="805"/>
                    </a:lnTo>
                    <a:lnTo>
                      <a:pt x="837" y="773"/>
                    </a:lnTo>
                    <a:lnTo>
                      <a:pt x="839" y="740"/>
                    </a:lnTo>
                    <a:lnTo>
                      <a:pt x="837" y="705"/>
                    </a:lnTo>
                    <a:lnTo>
                      <a:pt x="829" y="672"/>
                    </a:lnTo>
                    <a:lnTo>
                      <a:pt x="816" y="643"/>
                    </a:lnTo>
                    <a:lnTo>
                      <a:pt x="797" y="617"/>
                    </a:lnTo>
                    <a:lnTo>
                      <a:pt x="772" y="593"/>
                    </a:lnTo>
                    <a:lnTo>
                      <a:pt x="741" y="571"/>
                    </a:lnTo>
                    <a:lnTo>
                      <a:pt x="702" y="551"/>
                    </a:lnTo>
                    <a:lnTo>
                      <a:pt x="657" y="532"/>
                    </a:lnTo>
                    <a:lnTo>
                      <a:pt x="620" y="519"/>
                    </a:lnTo>
                    <a:lnTo>
                      <a:pt x="590" y="505"/>
                    </a:lnTo>
                    <a:lnTo>
                      <a:pt x="566" y="491"/>
                    </a:lnTo>
                    <a:lnTo>
                      <a:pt x="548" y="479"/>
                    </a:lnTo>
                    <a:lnTo>
                      <a:pt x="536" y="465"/>
                    </a:lnTo>
                    <a:lnTo>
                      <a:pt x="528" y="452"/>
                    </a:lnTo>
                    <a:lnTo>
                      <a:pt x="526" y="437"/>
                    </a:lnTo>
                    <a:lnTo>
                      <a:pt x="527" y="425"/>
                    </a:lnTo>
                    <a:lnTo>
                      <a:pt x="530" y="415"/>
                    </a:lnTo>
                    <a:lnTo>
                      <a:pt x="537" y="403"/>
                    </a:lnTo>
                    <a:lnTo>
                      <a:pt x="546" y="394"/>
                    </a:lnTo>
                    <a:lnTo>
                      <a:pt x="559" y="386"/>
                    </a:lnTo>
                    <a:lnTo>
                      <a:pt x="575" y="380"/>
                    </a:lnTo>
                    <a:lnTo>
                      <a:pt x="595" y="376"/>
                    </a:lnTo>
                    <a:lnTo>
                      <a:pt x="620" y="375"/>
                    </a:lnTo>
                    <a:lnTo>
                      <a:pt x="652" y="376"/>
                    </a:lnTo>
                    <a:lnTo>
                      <a:pt x="681" y="380"/>
                    </a:lnTo>
                    <a:lnTo>
                      <a:pt x="706" y="386"/>
                    </a:lnTo>
                    <a:lnTo>
                      <a:pt x="729" y="392"/>
                    </a:lnTo>
                    <a:lnTo>
                      <a:pt x="748" y="400"/>
                    </a:lnTo>
                    <a:lnTo>
                      <a:pt x="764" y="407"/>
                    </a:lnTo>
                    <a:lnTo>
                      <a:pt x="778" y="412"/>
                    </a:lnTo>
                    <a:lnTo>
                      <a:pt x="810" y="287"/>
                    </a:lnTo>
                    <a:lnTo>
                      <a:pt x="787" y="277"/>
                    </a:lnTo>
                    <a:lnTo>
                      <a:pt x="760" y="268"/>
                    </a:lnTo>
                    <a:lnTo>
                      <a:pt x="729" y="260"/>
                    </a:lnTo>
                    <a:lnTo>
                      <a:pt x="693" y="254"/>
                    </a:lnTo>
                    <a:lnTo>
                      <a:pt x="652" y="251"/>
                    </a:lnTo>
                    <a:lnTo>
                      <a:pt x="652" y="152"/>
                    </a:lnTo>
                    <a:lnTo>
                      <a:pt x="543" y="152"/>
                    </a:lnTo>
                    <a:close/>
                    <a:moveTo>
                      <a:pt x="595" y="0"/>
                    </a:moveTo>
                    <a:lnTo>
                      <a:pt x="659" y="3"/>
                    </a:lnTo>
                    <a:lnTo>
                      <a:pt x="722" y="13"/>
                    </a:lnTo>
                    <a:lnTo>
                      <a:pt x="782" y="30"/>
                    </a:lnTo>
                    <a:lnTo>
                      <a:pt x="840" y="53"/>
                    </a:lnTo>
                    <a:lnTo>
                      <a:pt x="895" y="82"/>
                    </a:lnTo>
                    <a:lnTo>
                      <a:pt x="946" y="116"/>
                    </a:lnTo>
                    <a:lnTo>
                      <a:pt x="993" y="155"/>
                    </a:lnTo>
                    <a:lnTo>
                      <a:pt x="1035" y="199"/>
                    </a:lnTo>
                    <a:lnTo>
                      <a:pt x="1074" y="246"/>
                    </a:lnTo>
                    <a:lnTo>
                      <a:pt x="1108" y="298"/>
                    </a:lnTo>
                    <a:lnTo>
                      <a:pt x="1136" y="354"/>
                    </a:lnTo>
                    <a:lnTo>
                      <a:pt x="1158" y="411"/>
                    </a:lnTo>
                    <a:lnTo>
                      <a:pt x="1175" y="472"/>
                    </a:lnTo>
                    <a:lnTo>
                      <a:pt x="1185" y="537"/>
                    </a:lnTo>
                    <a:lnTo>
                      <a:pt x="1189" y="602"/>
                    </a:lnTo>
                    <a:lnTo>
                      <a:pt x="1185" y="668"/>
                    </a:lnTo>
                    <a:lnTo>
                      <a:pt x="1175" y="731"/>
                    </a:lnTo>
                    <a:lnTo>
                      <a:pt x="1158" y="792"/>
                    </a:lnTo>
                    <a:lnTo>
                      <a:pt x="1136" y="851"/>
                    </a:lnTo>
                    <a:lnTo>
                      <a:pt x="1108" y="905"/>
                    </a:lnTo>
                    <a:lnTo>
                      <a:pt x="1074" y="957"/>
                    </a:lnTo>
                    <a:lnTo>
                      <a:pt x="1035" y="1005"/>
                    </a:lnTo>
                    <a:lnTo>
                      <a:pt x="993" y="1049"/>
                    </a:lnTo>
                    <a:lnTo>
                      <a:pt x="946" y="1087"/>
                    </a:lnTo>
                    <a:lnTo>
                      <a:pt x="895" y="1121"/>
                    </a:lnTo>
                    <a:lnTo>
                      <a:pt x="840" y="1150"/>
                    </a:lnTo>
                    <a:lnTo>
                      <a:pt x="782" y="1173"/>
                    </a:lnTo>
                    <a:lnTo>
                      <a:pt x="722" y="1190"/>
                    </a:lnTo>
                    <a:lnTo>
                      <a:pt x="659" y="1200"/>
                    </a:lnTo>
                    <a:lnTo>
                      <a:pt x="595" y="1204"/>
                    </a:lnTo>
                    <a:lnTo>
                      <a:pt x="530" y="1200"/>
                    </a:lnTo>
                    <a:lnTo>
                      <a:pt x="468" y="1190"/>
                    </a:lnTo>
                    <a:lnTo>
                      <a:pt x="407" y="1173"/>
                    </a:lnTo>
                    <a:lnTo>
                      <a:pt x="349" y="1150"/>
                    </a:lnTo>
                    <a:lnTo>
                      <a:pt x="295" y="1121"/>
                    </a:lnTo>
                    <a:lnTo>
                      <a:pt x="245" y="1087"/>
                    </a:lnTo>
                    <a:lnTo>
                      <a:pt x="197" y="1049"/>
                    </a:lnTo>
                    <a:lnTo>
                      <a:pt x="154" y="1005"/>
                    </a:lnTo>
                    <a:lnTo>
                      <a:pt x="115" y="957"/>
                    </a:lnTo>
                    <a:lnTo>
                      <a:pt x="82" y="905"/>
                    </a:lnTo>
                    <a:lnTo>
                      <a:pt x="54" y="851"/>
                    </a:lnTo>
                    <a:lnTo>
                      <a:pt x="32" y="792"/>
                    </a:lnTo>
                    <a:lnTo>
                      <a:pt x="15" y="731"/>
                    </a:lnTo>
                    <a:lnTo>
                      <a:pt x="5" y="668"/>
                    </a:lnTo>
                    <a:lnTo>
                      <a:pt x="0" y="602"/>
                    </a:lnTo>
                    <a:lnTo>
                      <a:pt x="5" y="537"/>
                    </a:lnTo>
                    <a:lnTo>
                      <a:pt x="15" y="472"/>
                    </a:lnTo>
                    <a:lnTo>
                      <a:pt x="32" y="411"/>
                    </a:lnTo>
                    <a:lnTo>
                      <a:pt x="54" y="354"/>
                    </a:lnTo>
                    <a:lnTo>
                      <a:pt x="82" y="298"/>
                    </a:lnTo>
                    <a:lnTo>
                      <a:pt x="115" y="246"/>
                    </a:lnTo>
                    <a:lnTo>
                      <a:pt x="154" y="199"/>
                    </a:lnTo>
                    <a:lnTo>
                      <a:pt x="197" y="155"/>
                    </a:lnTo>
                    <a:lnTo>
                      <a:pt x="245" y="116"/>
                    </a:lnTo>
                    <a:lnTo>
                      <a:pt x="295" y="82"/>
                    </a:lnTo>
                    <a:lnTo>
                      <a:pt x="349" y="53"/>
                    </a:lnTo>
                    <a:lnTo>
                      <a:pt x="407" y="30"/>
                    </a:lnTo>
                    <a:lnTo>
                      <a:pt x="468" y="13"/>
                    </a:lnTo>
                    <a:lnTo>
                      <a:pt x="530" y="3"/>
                    </a:lnTo>
                    <a:lnTo>
                      <a:pt x="59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4"/>
              <p:cNvSpPr>
                <a:spLocks/>
              </p:cNvSpPr>
              <p:nvPr/>
            </p:nvSpPr>
            <p:spPr bwMode="auto">
              <a:xfrm>
                <a:off x="252" y="835"/>
                <a:ext cx="915" cy="158"/>
              </a:xfrm>
              <a:custGeom>
                <a:avLst/>
                <a:gdLst>
                  <a:gd name="T0" fmla="*/ 3661 w 3661"/>
                  <a:gd name="T1" fmla="*/ 0 h 632"/>
                  <a:gd name="T2" fmla="*/ 3661 w 3661"/>
                  <a:gd name="T3" fmla="*/ 291 h 632"/>
                  <a:gd name="T4" fmla="*/ 3658 w 3661"/>
                  <a:gd name="T5" fmla="*/ 337 h 632"/>
                  <a:gd name="T6" fmla="*/ 3649 w 3661"/>
                  <a:gd name="T7" fmla="*/ 381 h 632"/>
                  <a:gd name="T8" fmla="*/ 3634 w 3661"/>
                  <a:gd name="T9" fmla="*/ 423 h 632"/>
                  <a:gd name="T10" fmla="*/ 3615 w 3661"/>
                  <a:gd name="T11" fmla="*/ 463 h 632"/>
                  <a:gd name="T12" fmla="*/ 3591 w 3661"/>
                  <a:gd name="T13" fmla="*/ 499 h 632"/>
                  <a:gd name="T14" fmla="*/ 3562 w 3661"/>
                  <a:gd name="T15" fmla="*/ 532 h 632"/>
                  <a:gd name="T16" fmla="*/ 3529 w 3661"/>
                  <a:gd name="T17" fmla="*/ 561 h 632"/>
                  <a:gd name="T18" fmla="*/ 3494 w 3661"/>
                  <a:gd name="T19" fmla="*/ 585 h 632"/>
                  <a:gd name="T20" fmla="*/ 3455 w 3661"/>
                  <a:gd name="T21" fmla="*/ 605 h 632"/>
                  <a:gd name="T22" fmla="*/ 3413 w 3661"/>
                  <a:gd name="T23" fmla="*/ 620 h 632"/>
                  <a:gd name="T24" fmla="*/ 3370 w 3661"/>
                  <a:gd name="T25" fmla="*/ 629 h 632"/>
                  <a:gd name="T26" fmla="*/ 3324 w 3661"/>
                  <a:gd name="T27" fmla="*/ 632 h 632"/>
                  <a:gd name="T28" fmla="*/ 337 w 3661"/>
                  <a:gd name="T29" fmla="*/ 632 h 632"/>
                  <a:gd name="T30" fmla="*/ 296 w 3661"/>
                  <a:gd name="T31" fmla="*/ 629 h 632"/>
                  <a:gd name="T32" fmla="*/ 254 w 3661"/>
                  <a:gd name="T33" fmla="*/ 621 h 632"/>
                  <a:gd name="T34" fmla="*/ 215 w 3661"/>
                  <a:gd name="T35" fmla="*/ 608 h 632"/>
                  <a:gd name="T36" fmla="*/ 178 w 3661"/>
                  <a:gd name="T37" fmla="*/ 592 h 632"/>
                  <a:gd name="T38" fmla="*/ 146 w 3661"/>
                  <a:gd name="T39" fmla="*/ 575 h 632"/>
                  <a:gd name="T40" fmla="*/ 122 w 3661"/>
                  <a:gd name="T41" fmla="*/ 556 h 632"/>
                  <a:gd name="T42" fmla="*/ 100 w 3661"/>
                  <a:gd name="T43" fmla="*/ 535 h 632"/>
                  <a:gd name="T44" fmla="*/ 79 w 3661"/>
                  <a:gd name="T45" fmla="*/ 509 h 632"/>
                  <a:gd name="T46" fmla="*/ 59 w 3661"/>
                  <a:gd name="T47" fmla="*/ 479 h 632"/>
                  <a:gd name="T48" fmla="*/ 40 w 3661"/>
                  <a:gd name="T49" fmla="*/ 445 h 632"/>
                  <a:gd name="T50" fmla="*/ 25 w 3661"/>
                  <a:gd name="T51" fmla="*/ 409 h 632"/>
                  <a:gd name="T52" fmla="*/ 11 w 3661"/>
                  <a:gd name="T53" fmla="*/ 370 h 632"/>
                  <a:gd name="T54" fmla="*/ 3 w 3661"/>
                  <a:gd name="T55" fmla="*/ 331 h 632"/>
                  <a:gd name="T56" fmla="*/ 0 w 3661"/>
                  <a:gd name="T57" fmla="*/ 291 h 632"/>
                  <a:gd name="T58" fmla="*/ 0 w 3661"/>
                  <a:gd name="T59" fmla="*/ 56 h 632"/>
                  <a:gd name="T60" fmla="*/ 71 w 3661"/>
                  <a:gd name="T61" fmla="*/ 56 h 632"/>
                  <a:gd name="T62" fmla="*/ 122 w 3661"/>
                  <a:gd name="T63" fmla="*/ 83 h 632"/>
                  <a:gd name="T64" fmla="*/ 173 w 3661"/>
                  <a:gd name="T65" fmla="*/ 104 h 632"/>
                  <a:gd name="T66" fmla="*/ 226 w 3661"/>
                  <a:gd name="T67" fmla="*/ 119 h 632"/>
                  <a:gd name="T68" fmla="*/ 281 w 3661"/>
                  <a:gd name="T69" fmla="*/ 129 h 632"/>
                  <a:gd name="T70" fmla="*/ 337 w 3661"/>
                  <a:gd name="T71" fmla="*/ 133 h 632"/>
                  <a:gd name="T72" fmla="*/ 555 w 3661"/>
                  <a:gd name="T73" fmla="*/ 133 h 632"/>
                  <a:gd name="T74" fmla="*/ 591 w 3661"/>
                  <a:gd name="T75" fmla="*/ 176 h 632"/>
                  <a:gd name="T76" fmla="*/ 623 w 3661"/>
                  <a:gd name="T77" fmla="*/ 222 h 632"/>
                  <a:gd name="T78" fmla="*/ 653 w 3661"/>
                  <a:gd name="T79" fmla="*/ 272 h 632"/>
                  <a:gd name="T80" fmla="*/ 679 w 3661"/>
                  <a:gd name="T81" fmla="*/ 323 h 632"/>
                  <a:gd name="T82" fmla="*/ 703 w 3661"/>
                  <a:gd name="T83" fmla="*/ 378 h 632"/>
                  <a:gd name="T84" fmla="*/ 2956 w 3661"/>
                  <a:gd name="T85" fmla="*/ 378 h 632"/>
                  <a:gd name="T86" fmla="*/ 2977 w 3661"/>
                  <a:gd name="T87" fmla="*/ 323 h 632"/>
                  <a:gd name="T88" fmla="*/ 3002 w 3661"/>
                  <a:gd name="T89" fmla="*/ 271 h 632"/>
                  <a:gd name="T90" fmla="*/ 3031 w 3661"/>
                  <a:gd name="T91" fmla="*/ 222 h 632"/>
                  <a:gd name="T92" fmla="*/ 3061 w 3661"/>
                  <a:gd name="T93" fmla="*/ 176 h 632"/>
                  <a:gd name="T94" fmla="*/ 3096 w 3661"/>
                  <a:gd name="T95" fmla="*/ 133 h 632"/>
                  <a:gd name="T96" fmla="*/ 3324 w 3661"/>
                  <a:gd name="T97" fmla="*/ 133 h 632"/>
                  <a:gd name="T98" fmla="*/ 3379 w 3661"/>
                  <a:gd name="T99" fmla="*/ 129 h 632"/>
                  <a:gd name="T100" fmla="*/ 3432 w 3661"/>
                  <a:gd name="T101" fmla="*/ 120 h 632"/>
                  <a:gd name="T102" fmla="*/ 3484 w 3661"/>
                  <a:gd name="T103" fmla="*/ 106 h 632"/>
                  <a:gd name="T104" fmla="*/ 3532 w 3661"/>
                  <a:gd name="T105" fmla="*/ 86 h 632"/>
                  <a:gd name="T106" fmla="*/ 3579 w 3661"/>
                  <a:gd name="T107" fmla="*/ 63 h 632"/>
                  <a:gd name="T108" fmla="*/ 3621 w 3661"/>
                  <a:gd name="T109" fmla="*/ 33 h 632"/>
                  <a:gd name="T110" fmla="*/ 3661 w 3661"/>
                  <a:gd name="T111" fmla="*/ 0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661" h="632">
                    <a:moveTo>
                      <a:pt x="3661" y="0"/>
                    </a:moveTo>
                    <a:lnTo>
                      <a:pt x="3661" y="291"/>
                    </a:lnTo>
                    <a:lnTo>
                      <a:pt x="3658" y="337"/>
                    </a:lnTo>
                    <a:lnTo>
                      <a:pt x="3649" y="381"/>
                    </a:lnTo>
                    <a:lnTo>
                      <a:pt x="3634" y="423"/>
                    </a:lnTo>
                    <a:lnTo>
                      <a:pt x="3615" y="463"/>
                    </a:lnTo>
                    <a:lnTo>
                      <a:pt x="3591" y="499"/>
                    </a:lnTo>
                    <a:lnTo>
                      <a:pt x="3562" y="532"/>
                    </a:lnTo>
                    <a:lnTo>
                      <a:pt x="3529" y="561"/>
                    </a:lnTo>
                    <a:lnTo>
                      <a:pt x="3494" y="585"/>
                    </a:lnTo>
                    <a:lnTo>
                      <a:pt x="3455" y="605"/>
                    </a:lnTo>
                    <a:lnTo>
                      <a:pt x="3413" y="620"/>
                    </a:lnTo>
                    <a:lnTo>
                      <a:pt x="3370" y="629"/>
                    </a:lnTo>
                    <a:lnTo>
                      <a:pt x="3324" y="632"/>
                    </a:lnTo>
                    <a:lnTo>
                      <a:pt x="337" y="632"/>
                    </a:lnTo>
                    <a:lnTo>
                      <a:pt x="296" y="629"/>
                    </a:lnTo>
                    <a:lnTo>
                      <a:pt x="254" y="621"/>
                    </a:lnTo>
                    <a:lnTo>
                      <a:pt x="215" y="608"/>
                    </a:lnTo>
                    <a:lnTo>
                      <a:pt x="178" y="592"/>
                    </a:lnTo>
                    <a:lnTo>
                      <a:pt x="146" y="575"/>
                    </a:lnTo>
                    <a:lnTo>
                      <a:pt x="122" y="556"/>
                    </a:lnTo>
                    <a:lnTo>
                      <a:pt x="100" y="535"/>
                    </a:lnTo>
                    <a:lnTo>
                      <a:pt x="79" y="509"/>
                    </a:lnTo>
                    <a:lnTo>
                      <a:pt x="59" y="479"/>
                    </a:lnTo>
                    <a:lnTo>
                      <a:pt x="40" y="445"/>
                    </a:lnTo>
                    <a:lnTo>
                      <a:pt x="25" y="409"/>
                    </a:lnTo>
                    <a:lnTo>
                      <a:pt x="11" y="370"/>
                    </a:lnTo>
                    <a:lnTo>
                      <a:pt x="3" y="331"/>
                    </a:lnTo>
                    <a:lnTo>
                      <a:pt x="0" y="291"/>
                    </a:lnTo>
                    <a:lnTo>
                      <a:pt x="0" y="56"/>
                    </a:lnTo>
                    <a:lnTo>
                      <a:pt x="71" y="56"/>
                    </a:lnTo>
                    <a:lnTo>
                      <a:pt x="122" y="83"/>
                    </a:lnTo>
                    <a:lnTo>
                      <a:pt x="173" y="104"/>
                    </a:lnTo>
                    <a:lnTo>
                      <a:pt x="226" y="119"/>
                    </a:lnTo>
                    <a:lnTo>
                      <a:pt x="281" y="129"/>
                    </a:lnTo>
                    <a:lnTo>
                      <a:pt x="337" y="133"/>
                    </a:lnTo>
                    <a:lnTo>
                      <a:pt x="555" y="133"/>
                    </a:lnTo>
                    <a:lnTo>
                      <a:pt x="591" y="176"/>
                    </a:lnTo>
                    <a:lnTo>
                      <a:pt x="623" y="222"/>
                    </a:lnTo>
                    <a:lnTo>
                      <a:pt x="653" y="272"/>
                    </a:lnTo>
                    <a:lnTo>
                      <a:pt x="679" y="323"/>
                    </a:lnTo>
                    <a:lnTo>
                      <a:pt x="703" y="378"/>
                    </a:lnTo>
                    <a:lnTo>
                      <a:pt x="2956" y="378"/>
                    </a:lnTo>
                    <a:lnTo>
                      <a:pt x="2977" y="323"/>
                    </a:lnTo>
                    <a:lnTo>
                      <a:pt x="3002" y="271"/>
                    </a:lnTo>
                    <a:lnTo>
                      <a:pt x="3031" y="222"/>
                    </a:lnTo>
                    <a:lnTo>
                      <a:pt x="3061" y="176"/>
                    </a:lnTo>
                    <a:lnTo>
                      <a:pt x="3096" y="133"/>
                    </a:lnTo>
                    <a:lnTo>
                      <a:pt x="3324" y="133"/>
                    </a:lnTo>
                    <a:lnTo>
                      <a:pt x="3379" y="129"/>
                    </a:lnTo>
                    <a:lnTo>
                      <a:pt x="3432" y="120"/>
                    </a:lnTo>
                    <a:lnTo>
                      <a:pt x="3484" y="106"/>
                    </a:lnTo>
                    <a:lnTo>
                      <a:pt x="3532" y="86"/>
                    </a:lnTo>
                    <a:lnTo>
                      <a:pt x="3579" y="63"/>
                    </a:lnTo>
                    <a:lnTo>
                      <a:pt x="3621" y="33"/>
                    </a:lnTo>
                    <a:lnTo>
                      <a:pt x="366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0" name="Group 27"/>
            <p:cNvGrpSpPr>
              <a:grpSpLocks noChangeAspect="1"/>
            </p:cNvGrpSpPr>
            <p:nvPr/>
          </p:nvGrpSpPr>
          <p:grpSpPr bwMode="auto">
            <a:xfrm>
              <a:off x="4289254" y="2116409"/>
              <a:ext cx="752617" cy="752617"/>
              <a:chOff x="-3326" y="97"/>
              <a:chExt cx="562" cy="562"/>
            </a:xfrm>
            <a:solidFill>
              <a:schemeClr val="bg1"/>
            </a:solidFill>
          </p:grpSpPr>
          <p:sp>
            <p:nvSpPr>
              <p:cNvPr id="43" name="Freeform 29"/>
              <p:cNvSpPr>
                <a:spLocks/>
              </p:cNvSpPr>
              <p:nvPr/>
            </p:nvSpPr>
            <p:spPr bwMode="auto">
              <a:xfrm>
                <a:off x="-3320" y="609"/>
                <a:ext cx="556" cy="50"/>
              </a:xfrm>
              <a:custGeom>
                <a:avLst/>
                <a:gdLst>
                  <a:gd name="T0" fmla="*/ 152 w 3336"/>
                  <a:gd name="T1" fmla="*/ 0 h 301"/>
                  <a:gd name="T2" fmla="*/ 3184 w 3336"/>
                  <a:gd name="T3" fmla="*/ 0 h 301"/>
                  <a:gd name="T4" fmla="*/ 3215 w 3336"/>
                  <a:gd name="T5" fmla="*/ 3 h 301"/>
                  <a:gd name="T6" fmla="*/ 3243 w 3336"/>
                  <a:gd name="T7" fmla="*/ 12 h 301"/>
                  <a:gd name="T8" fmla="*/ 3269 w 3336"/>
                  <a:gd name="T9" fmla="*/ 26 h 301"/>
                  <a:gd name="T10" fmla="*/ 3291 w 3336"/>
                  <a:gd name="T11" fmla="*/ 44 h 301"/>
                  <a:gd name="T12" fmla="*/ 3310 w 3336"/>
                  <a:gd name="T13" fmla="*/ 67 h 301"/>
                  <a:gd name="T14" fmla="*/ 3324 w 3336"/>
                  <a:gd name="T15" fmla="*/ 93 h 301"/>
                  <a:gd name="T16" fmla="*/ 3333 w 3336"/>
                  <a:gd name="T17" fmla="*/ 121 h 301"/>
                  <a:gd name="T18" fmla="*/ 3336 w 3336"/>
                  <a:gd name="T19" fmla="*/ 151 h 301"/>
                  <a:gd name="T20" fmla="*/ 3333 w 3336"/>
                  <a:gd name="T21" fmla="*/ 182 h 301"/>
                  <a:gd name="T22" fmla="*/ 3324 w 3336"/>
                  <a:gd name="T23" fmla="*/ 210 h 301"/>
                  <a:gd name="T24" fmla="*/ 3310 w 3336"/>
                  <a:gd name="T25" fmla="*/ 236 h 301"/>
                  <a:gd name="T26" fmla="*/ 3291 w 3336"/>
                  <a:gd name="T27" fmla="*/ 258 h 301"/>
                  <a:gd name="T28" fmla="*/ 3269 w 3336"/>
                  <a:gd name="T29" fmla="*/ 276 h 301"/>
                  <a:gd name="T30" fmla="*/ 3243 w 3336"/>
                  <a:gd name="T31" fmla="*/ 290 h 301"/>
                  <a:gd name="T32" fmla="*/ 3215 w 3336"/>
                  <a:gd name="T33" fmla="*/ 298 h 301"/>
                  <a:gd name="T34" fmla="*/ 3184 w 3336"/>
                  <a:gd name="T35" fmla="*/ 301 h 301"/>
                  <a:gd name="T36" fmla="*/ 152 w 3336"/>
                  <a:gd name="T37" fmla="*/ 301 h 301"/>
                  <a:gd name="T38" fmla="*/ 122 w 3336"/>
                  <a:gd name="T39" fmla="*/ 298 h 301"/>
                  <a:gd name="T40" fmla="*/ 93 w 3336"/>
                  <a:gd name="T41" fmla="*/ 290 h 301"/>
                  <a:gd name="T42" fmla="*/ 67 w 3336"/>
                  <a:gd name="T43" fmla="*/ 276 h 301"/>
                  <a:gd name="T44" fmla="*/ 45 w 3336"/>
                  <a:gd name="T45" fmla="*/ 258 h 301"/>
                  <a:gd name="T46" fmla="*/ 26 w 3336"/>
                  <a:gd name="T47" fmla="*/ 236 h 301"/>
                  <a:gd name="T48" fmla="*/ 13 w 3336"/>
                  <a:gd name="T49" fmla="*/ 210 h 301"/>
                  <a:gd name="T50" fmla="*/ 3 w 3336"/>
                  <a:gd name="T51" fmla="*/ 182 h 301"/>
                  <a:gd name="T52" fmla="*/ 0 w 3336"/>
                  <a:gd name="T53" fmla="*/ 151 h 301"/>
                  <a:gd name="T54" fmla="*/ 3 w 3336"/>
                  <a:gd name="T55" fmla="*/ 121 h 301"/>
                  <a:gd name="T56" fmla="*/ 13 w 3336"/>
                  <a:gd name="T57" fmla="*/ 93 h 301"/>
                  <a:gd name="T58" fmla="*/ 26 w 3336"/>
                  <a:gd name="T59" fmla="*/ 67 h 301"/>
                  <a:gd name="T60" fmla="*/ 45 w 3336"/>
                  <a:gd name="T61" fmla="*/ 44 h 301"/>
                  <a:gd name="T62" fmla="*/ 67 w 3336"/>
                  <a:gd name="T63" fmla="*/ 26 h 301"/>
                  <a:gd name="T64" fmla="*/ 93 w 3336"/>
                  <a:gd name="T65" fmla="*/ 12 h 301"/>
                  <a:gd name="T66" fmla="*/ 122 w 3336"/>
                  <a:gd name="T67" fmla="*/ 3 h 301"/>
                  <a:gd name="T68" fmla="*/ 152 w 3336"/>
                  <a:gd name="T69" fmla="*/ 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36" h="301">
                    <a:moveTo>
                      <a:pt x="152" y="0"/>
                    </a:moveTo>
                    <a:lnTo>
                      <a:pt x="3184" y="0"/>
                    </a:lnTo>
                    <a:lnTo>
                      <a:pt x="3215" y="3"/>
                    </a:lnTo>
                    <a:lnTo>
                      <a:pt x="3243" y="12"/>
                    </a:lnTo>
                    <a:lnTo>
                      <a:pt x="3269" y="26"/>
                    </a:lnTo>
                    <a:lnTo>
                      <a:pt x="3291" y="44"/>
                    </a:lnTo>
                    <a:lnTo>
                      <a:pt x="3310" y="67"/>
                    </a:lnTo>
                    <a:lnTo>
                      <a:pt x="3324" y="93"/>
                    </a:lnTo>
                    <a:lnTo>
                      <a:pt x="3333" y="121"/>
                    </a:lnTo>
                    <a:lnTo>
                      <a:pt x="3336" y="151"/>
                    </a:lnTo>
                    <a:lnTo>
                      <a:pt x="3333" y="182"/>
                    </a:lnTo>
                    <a:lnTo>
                      <a:pt x="3324" y="210"/>
                    </a:lnTo>
                    <a:lnTo>
                      <a:pt x="3310" y="236"/>
                    </a:lnTo>
                    <a:lnTo>
                      <a:pt x="3291" y="258"/>
                    </a:lnTo>
                    <a:lnTo>
                      <a:pt x="3269" y="276"/>
                    </a:lnTo>
                    <a:lnTo>
                      <a:pt x="3243" y="290"/>
                    </a:lnTo>
                    <a:lnTo>
                      <a:pt x="3215" y="298"/>
                    </a:lnTo>
                    <a:lnTo>
                      <a:pt x="3184" y="301"/>
                    </a:lnTo>
                    <a:lnTo>
                      <a:pt x="152" y="301"/>
                    </a:lnTo>
                    <a:lnTo>
                      <a:pt x="122" y="298"/>
                    </a:lnTo>
                    <a:lnTo>
                      <a:pt x="93" y="290"/>
                    </a:lnTo>
                    <a:lnTo>
                      <a:pt x="67" y="276"/>
                    </a:lnTo>
                    <a:lnTo>
                      <a:pt x="45" y="258"/>
                    </a:lnTo>
                    <a:lnTo>
                      <a:pt x="26" y="236"/>
                    </a:lnTo>
                    <a:lnTo>
                      <a:pt x="13" y="210"/>
                    </a:lnTo>
                    <a:lnTo>
                      <a:pt x="3" y="182"/>
                    </a:lnTo>
                    <a:lnTo>
                      <a:pt x="0" y="151"/>
                    </a:lnTo>
                    <a:lnTo>
                      <a:pt x="3" y="121"/>
                    </a:lnTo>
                    <a:lnTo>
                      <a:pt x="13" y="93"/>
                    </a:lnTo>
                    <a:lnTo>
                      <a:pt x="26" y="67"/>
                    </a:lnTo>
                    <a:lnTo>
                      <a:pt x="45" y="44"/>
                    </a:lnTo>
                    <a:lnTo>
                      <a:pt x="67" y="26"/>
                    </a:lnTo>
                    <a:lnTo>
                      <a:pt x="93" y="12"/>
                    </a:lnTo>
                    <a:lnTo>
                      <a:pt x="122" y="3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0"/>
              <p:cNvSpPr>
                <a:spLocks noEditPoints="1"/>
              </p:cNvSpPr>
              <p:nvPr/>
            </p:nvSpPr>
            <p:spPr bwMode="auto">
              <a:xfrm>
                <a:off x="-3289" y="284"/>
                <a:ext cx="493" cy="301"/>
              </a:xfrm>
              <a:custGeom>
                <a:avLst/>
                <a:gdLst>
                  <a:gd name="T0" fmla="*/ 2008 w 2956"/>
                  <a:gd name="T1" fmla="*/ 1506 h 1808"/>
                  <a:gd name="T2" fmla="*/ 2464 w 2956"/>
                  <a:gd name="T3" fmla="*/ 150 h 1808"/>
                  <a:gd name="T4" fmla="*/ 1251 w 2956"/>
                  <a:gd name="T5" fmla="*/ 150 h 1808"/>
                  <a:gd name="T6" fmla="*/ 1705 w 2956"/>
                  <a:gd name="T7" fmla="*/ 1506 h 1808"/>
                  <a:gd name="T8" fmla="*/ 1251 w 2956"/>
                  <a:gd name="T9" fmla="*/ 150 h 1808"/>
                  <a:gd name="T10" fmla="*/ 493 w 2956"/>
                  <a:gd name="T11" fmla="*/ 1506 h 1808"/>
                  <a:gd name="T12" fmla="*/ 947 w 2956"/>
                  <a:gd name="T13" fmla="*/ 150 h 1808"/>
                  <a:gd name="T14" fmla="*/ 152 w 2956"/>
                  <a:gd name="T15" fmla="*/ 0 h 1808"/>
                  <a:gd name="T16" fmla="*/ 2824 w 2956"/>
                  <a:gd name="T17" fmla="*/ 2 h 1808"/>
                  <a:gd name="T18" fmla="*/ 2858 w 2956"/>
                  <a:gd name="T19" fmla="*/ 22 h 1808"/>
                  <a:gd name="T20" fmla="*/ 2878 w 2956"/>
                  <a:gd name="T21" fmla="*/ 55 h 1808"/>
                  <a:gd name="T22" fmla="*/ 2878 w 2956"/>
                  <a:gd name="T23" fmla="*/ 95 h 1808"/>
                  <a:gd name="T24" fmla="*/ 2858 w 2956"/>
                  <a:gd name="T25" fmla="*/ 128 h 1808"/>
                  <a:gd name="T26" fmla="*/ 2824 w 2956"/>
                  <a:gd name="T27" fmla="*/ 148 h 1808"/>
                  <a:gd name="T28" fmla="*/ 2767 w 2956"/>
                  <a:gd name="T29" fmla="*/ 150 h 1808"/>
                  <a:gd name="T30" fmla="*/ 2804 w 2956"/>
                  <a:gd name="T31" fmla="*/ 1506 h 1808"/>
                  <a:gd name="T32" fmla="*/ 2863 w 2956"/>
                  <a:gd name="T33" fmla="*/ 1518 h 1808"/>
                  <a:gd name="T34" fmla="*/ 2911 w 2956"/>
                  <a:gd name="T35" fmla="*/ 1550 h 1808"/>
                  <a:gd name="T36" fmla="*/ 2944 w 2956"/>
                  <a:gd name="T37" fmla="*/ 1598 h 1808"/>
                  <a:gd name="T38" fmla="*/ 2956 w 2956"/>
                  <a:gd name="T39" fmla="*/ 1657 h 1808"/>
                  <a:gd name="T40" fmla="*/ 2944 w 2956"/>
                  <a:gd name="T41" fmla="*/ 1715 h 1808"/>
                  <a:gd name="T42" fmla="*/ 2911 w 2956"/>
                  <a:gd name="T43" fmla="*/ 1763 h 1808"/>
                  <a:gd name="T44" fmla="*/ 2863 w 2956"/>
                  <a:gd name="T45" fmla="*/ 1795 h 1808"/>
                  <a:gd name="T46" fmla="*/ 2804 w 2956"/>
                  <a:gd name="T47" fmla="*/ 1808 h 1808"/>
                  <a:gd name="T48" fmla="*/ 120 w 2956"/>
                  <a:gd name="T49" fmla="*/ 1805 h 1808"/>
                  <a:gd name="T50" fmla="*/ 67 w 2956"/>
                  <a:gd name="T51" fmla="*/ 1782 h 1808"/>
                  <a:gd name="T52" fmla="*/ 26 w 2956"/>
                  <a:gd name="T53" fmla="*/ 1741 h 1808"/>
                  <a:gd name="T54" fmla="*/ 3 w 2956"/>
                  <a:gd name="T55" fmla="*/ 1687 h 1808"/>
                  <a:gd name="T56" fmla="*/ 3 w 2956"/>
                  <a:gd name="T57" fmla="*/ 1626 h 1808"/>
                  <a:gd name="T58" fmla="*/ 26 w 2956"/>
                  <a:gd name="T59" fmla="*/ 1572 h 1808"/>
                  <a:gd name="T60" fmla="*/ 67 w 2956"/>
                  <a:gd name="T61" fmla="*/ 1532 h 1808"/>
                  <a:gd name="T62" fmla="*/ 120 w 2956"/>
                  <a:gd name="T63" fmla="*/ 1509 h 1808"/>
                  <a:gd name="T64" fmla="*/ 190 w 2956"/>
                  <a:gd name="T65" fmla="*/ 1506 h 1808"/>
                  <a:gd name="T66" fmla="*/ 152 w 2956"/>
                  <a:gd name="T67" fmla="*/ 150 h 1808"/>
                  <a:gd name="T68" fmla="*/ 113 w 2956"/>
                  <a:gd name="T69" fmla="*/ 140 h 1808"/>
                  <a:gd name="T70" fmla="*/ 86 w 2956"/>
                  <a:gd name="T71" fmla="*/ 113 h 1808"/>
                  <a:gd name="T72" fmla="*/ 75 w 2956"/>
                  <a:gd name="T73" fmla="*/ 75 h 1808"/>
                  <a:gd name="T74" fmla="*/ 86 w 2956"/>
                  <a:gd name="T75" fmla="*/ 38 h 1808"/>
                  <a:gd name="T76" fmla="*/ 113 w 2956"/>
                  <a:gd name="T77" fmla="*/ 11 h 1808"/>
                  <a:gd name="T78" fmla="*/ 152 w 2956"/>
                  <a:gd name="T79" fmla="*/ 0 h 1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956" h="1808">
                    <a:moveTo>
                      <a:pt x="2008" y="150"/>
                    </a:moveTo>
                    <a:lnTo>
                      <a:pt x="2008" y="1506"/>
                    </a:lnTo>
                    <a:lnTo>
                      <a:pt x="2464" y="1506"/>
                    </a:lnTo>
                    <a:lnTo>
                      <a:pt x="2464" y="150"/>
                    </a:lnTo>
                    <a:lnTo>
                      <a:pt x="2008" y="150"/>
                    </a:lnTo>
                    <a:close/>
                    <a:moveTo>
                      <a:pt x="1251" y="150"/>
                    </a:moveTo>
                    <a:lnTo>
                      <a:pt x="1251" y="1506"/>
                    </a:lnTo>
                    <a:lnTo>
                      <a:pt x="1705" y="1506"/>
                    </a:lnTo>
                    <a:lnTo>
                      <a:pt x="1705" y="150"/>
                    </a:lnTo>
                    <a:lnTo>
                      <a:pt x="1251" y="150"/>
                    </a:lnTo>
                    <a:close/>
                    <a:moveTo>
                      <a:pt x="493" y="150"/>
                    </a:moveTo>
                    <a:lnTo>
                      <a:pt x="493" y="1506"/>
                    </a:lnTo>
                    <a:lnTo>
                      <a:pt x="947" y="1506"/>
                    </a:lnTo>
                    <a:lnTo>
                      <a:pt x="947" y="150"/>
                    </a:lnTo>
                    <a:lnTo>
                      <a:pt x="493" y="150"/>
                    </a:lnTo>
                    <a:close/>
                    <a:moveTo>
                      <a:pt x="152" y="0"/>
                    </a:moveTo>
                    <a:lnTo>
                      <a:pt x="2804" y="0"/>
                    </a:lnTo>
                    <a:lnTo>
                      <a:pt x="2824" y="2"/>
                    </a:lnTo>
                    <a:lnTo>
                      <a:pt x="2843" y="11"/>
                    </a:lnTo>
                    <a:lnTo>
                      <a:pt x="2858" y="22"/>
                    </a:lnTo>
                    <a:lnTo>
                      <a:pt x="2870" y="38"/>
                    </a:lnTo>
                    <a:lnTo>
                      <a:pt x="2878" y="55"/>
                    </a:lnTo>
                    <a:lnTo>
                      <a:pt x="2880" y="75"/>
                    </a:lnTo>
                    <a:lnTo>
                      <a:pt x="2878" y="95"/>
                    </a:lnTo>
                    <a:lnTo>
                      <a:pt x="2870" y="113"/>
                    </a:lnTo>
                    <a:lnTo>
                      <a:pt x="2858" y="128"/>
                    </a:lnTo>
                    <a:lnTo>
                      <a:pt x="2843" y="140"/>
                    </a:lnTo>
                    <a:lnTo>
                      <a:pt x="2824" y="148"/>
                    </a:lnTo>
                    <a:lnTo>
                      <a:pt x="2804" y="150"/>
                    </a:lnTo>
                    <a:lnTo>
                      <a:pt x="2767" y="150"/>
                    </a:lnTo>
                    <a:lnTo>
                      <a:pt x="2767" y="1506"/>
                    </a:lnTo>
                    <a:lnTo>
                      <a:pt x="2804" y="1506"/>
                    </a:lnTo>
                    <a:lnTo>
                      <a:pt x="2835" y="1509"/>
                    </a:lnTo>
                    <a:lnTo>
                      <a:pt x="2863" y="1518"/>
                    </a:lnTo>
                    <a:lnTo>
                      <a:pt x="2889" y="1532"/>
                    </a:lnTo>
                    <a:lnTo>
                      <a:pt x="2911" y="1550"/>
                    </a:lnTo>
                    <a:lnTo>
                      <a:pt x="2930" y="1572"/>
                    </a:lnTo>
                    <a:lnTo>
                      <a:pt x="2944" y="1598"/>
                    </a:lnTo>
                    <a:lnTo>
                      <a:pt x="2953" y="1626"/>
                    </a:lnTo>
                    <a:lnTo>
                      <a:pt x="2956" y="1657"/>
                    </a:lnTo>
                    <a:lnTo>
                      <a:pt x="2953" y="1687"/>
                    </a:lnTo>
                    <a:lnTo>
                      <a:pt x="2944" y="1715"/>
                    </a:lnTo>
                    <a:lnTo>
                      <a:pt x="2930" y="1741"/>
                    </a:lnTo>
                    <a:lnTo>
                      <a:pt x="2911" y="1763"/>
                    </a:lnTo>
                    <a:lnTo>
                      <a:pt x="2889" y="1782"/>
                    </a:lnTo>
                    <a:lnTo>
                      <a:pt x="2863" y="1795"/>
                    </a:lnTo>
                    <a:lnTo>
                      <a:pt x="2835" y="1805"/>
                    </a:lnTo>
                    <a:lnTo>
                      <a:pt x="2804" y="1808"/>
                    </a:lnTo>
                    <a:lnTo>
                      <a:pt x="152" y="1808"/>
                    </a:lnTo>
                    <a:lnTo>
                      <a:pt x="120" y="1805"/>
                    </a:lnTo>
                    <a:lnTo>
                      <a:pt x="92" y="1795"/>
                    </a:lnTo>
                    <a:lnTo>
                      <a:pt x="67" y="1782"/>
                    </a:lnTo>
                    <a:lnTo>
                      <a:pt x="44" y="1763"/>
                    </a:lnTo>
                    <a:lnTo>
                      <a:pt x="26" y="1741"/>
                    </a:lnTo>
                    <a:lnTo>
                      <a:pt x="11" y="1715"/>
                    </a:lnTo>
                    <a:lnTo>
                      <a:pt x="3" y="1687"/>
                    </a:lnTo>
                    <a:lnTo>
                      <a:pt x="0" y="1657"/>
                    </a:lnTo>
                    <a:lnTo>
                      <a:pt x="3" y="1626"/>
                    </a:lnTo>
                    <a:lnTo>
                      <a:pt x="11" y="1598"/>
                    </a:lnTo>
                    <a:lnTo>
                      <a:pt x="26" y="1572"/>
                    </a:lnTo>
                    <a:lnTo>
                      <a:pt x="44" y="1550"/>
                    </a:lnTo>
                    <a:lnTo>
                      <a:pt x="67" y="1532"/>
                    </a:lnTo>
                    <a:lnTo>
                      <a:pt x="92" y="1518"/>
                    </a:lnTo>
                    <a:lnTo>
                      <a:pt x="120" y="1509"/>
                    </a:lnTo>
                    <a:lnTo>
                      <a:pt x="152" y="1506"/>
                    </a:lnTo>
                    <a:lnTo>
                      <a:pt x="190" y="1506"/>
                    </a:lnTo>
                    <a:lnTo>
                      <a:pt x="190" y="150"/>
                    </a:lnTo>
                    <a:lnTo>
                      <a:pt x="152" y="150"/>
                    </a:lnTo>
                    <a:lnTo>
                      <a:pt x="131" y="148"/>
                    </a:lnTo>
                    <a:lnTo>
                      <a:pt x="113" y="140"/>
                    </a:lnTo>
                    <a:lnTo>
                      <a:pt x="98" y="128"/>
                    </a:lnTo>
                    <a:lnTo>
                      <a:pt x="86" y="113"/>
                    </a:lnTo>
                    <a:lnTo>
                      <a:pt x="78" y="95"/>
                    </a:lnTo>
                    <a:lnTo>
                      <a:pt x="75" y="75"/>
                    </a:lnTo>
                    <a:lnTo>
                      <a:pt x="78" y="55"/>
                    </a:lnTo>
                    <a:lnTo>
                      <a:pt x="86" y="38"/>
                    </a:lnTo>
                    <a:lnTo>
                      <a:pt x="98" y="22"/>
                    </a:lnTo>
                    <a:lnTo>
                      <a:pt x="113" y="11"/>
                    </a:lnTo>
                    <a:lnTo>
                      <a:pt x="131" y="2"/>
                    </a:lnTo>
                    <a:lnTo>
                      <a:pt x="1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-3326" y="97"/>
                <a:ext cx="556" cy="163"/>
              </a:xfrm>
              <a:custGeom>
                <a:avLst/>
                <a:gdLst>
                  <a:gd name="T0" fmla="*/ 1681 w 3337"/>
                  <a:gd name="T1" fmla="*/ 0 h 978"/>
                  <a:gd name="T2" fmla="*/ 1705 w 3337"/>
                  <a:gd name="T3" fmla="*/ 4 h 978"/>
                  <a:gd name="T4" fmla="*/ 1731 w 3337"/>
                  <a:gd name="T5" fmla="*/ 12 h 978"/>
                  <a:gd name="T6" fmla="*/ 3235 w 3337"/>
                  <a:gd name="T7" fmla="*/ 684 h 978"/>
                  <a:gd name="T8" fmla="*/ 3259 w 3337"/>
                  <a:gd name="T9" fmla="*/ 695 h 978"/>
                  <a:gd name="T10" fmla="*/ 3281 w 3337"/>
                  <a:gd name="T11" fmla="*/ 710 h 978"/>
                  <a:gd name="T12" fmla="*/ 3301 w 3337"/>
                  <a:gd name="T13" fmla="*/ 728 h 978"/>
                  <a:gd name="T14" fmla="*/ 3315 w 3337"/>
                  <a:gd name="T15" fmla="*/ 750 h 978"/>
                  <a:gd name="T16" fmla="*/ 3328 w 3337"/>
                  <a:gd name="T17" fmla="*/ 774 h 978"/>
                  <a:gd name="T18" fmla="*/ 3335 w 3337"/>
                  <a:gd name="T19" fmla="*/ 800 h 978"/>
                  <a:gd name="T20" fmla="*/ 3337 w 3337"/>
                  <a:gd name="T21" fmla="*/ 827 h 978"/>
                  <a:gd name="T22" fmla="*/ 3334 w 3337"/>
                  <a:gd name="T23" fmla="*/ 857 h 978"/>
                  <a:gd name="T24" fmla="*/ 3326 w 3337"/>
                  <a:gd name="T25" fmla="*/ 886 h 978"/>
                  <a:gd name="T26" fmla="*/ 3311 w 3337"/>
                  <a:gd name="T27" fmla="*/ 911 h 978"/>
                  <a:gd name="T28" fmla="*/ 3293 w 3337"/>
                  <a:gd name="T29" fmla="*/ 934 h 978"/>
                  <a:gd name="T30" fmla="*/ 3270 w 3337"/>
                  <a:gd name="T31" fmla="*/ 952 h 978"/>
                  <a:gd name="T32" fmla="*/ 3245 w 3337"/>
                  <a:gd name="T33" fmla="*/ 966 h 978"/>
                  <a:gd name="T34" fmla="*/ 3216 w 3337"/>
                  <a:gd name="T35" fmla="*/ 975 h 978"/>
                  <a:gd name="T36" fmla="*/ 3185 w 3337"/>
                  <a:gd name="T37" fmla="*/ 978 h 978"/>
                  <a:gd name="T38" fmla="*/ 152 w 3337"/>
                  <a:gd name="T39" fmla="*/ 978 h 978"/>
                  <a:gd name="T40" fmla="*/ 122 w 3337"/>
                  <a:gd name="T41" fmla="*/ 975 h 978"/>
                  <a:gd name="T42" fmla="*/ 93 w 3337"/>
                  <a:gd name="T43" fmla="*/ 966 h 978"/>
                  <a:gd name="T44" fmla="*/ 68 w 3337"/>
                  <a:gd name="T45" fmla="*/ 953 h 978"/>
                  <a:gd name="T46" fmla="*/ 46 w 3337"/>
                  <a:gd name="T47" fmla="*/ 935 h 978"/>
                  <a:gd name="T48" fmla="*/ 27 w 3337"/>
                  <a:gd name="T49" fmla="*/ 912 h 978"/>
                  <a:gd name="T50" fmla="*/ 13 w 3337"/>
                  <a:gd name="T51" fmla="*/ 887 h 978"/>
                  <a:gd name="T52" fmla="*/ 4 w 3337"/>
                  <a:gd name="T53" fmla="*/ 859 h 978"/>
                  <a:gd name="T54" fmla="*/ 0 w 3337"/>
                  <a:gd name="T55" fmla="*/ 833 h 978"/>
                  <a:gd name="T56" fmla="*/ 2 w 3337"/>
                  <a:gd name="T57" fmla="*/ 807 h 978"/>
                  <a:gd name="T58" fmla="*/ 7 w 3337"/>
                  <a:gd name="T59" fmla="*/ 782 h 978"/>
                  <a:gd name="T60" fmla="*/ 17 w 3337"/>
                  <a:gd name="T61" fmla="*/ 759 h 978"/>
                  <a:gd name="T62" fmla="*/ 29 w 3337"/>
                  <a:gd name="T63" fmla="*/ 738 h 978"/>
                  <a:gd name="T64" fmla="*/ 47 w 3337"/>
                  <a:gd name="T65" fmla="*/ 718 h 978"/>
                  <a:gd name="T66" fmla="*/ 67 w 3337"/>
                  <a:gd name="T67" fmla="*/ 703 h 978"/>
                  <a:gd name="T68" fmla="*/ 90 w 3337"/>
                  <a:gd name="T69" fmla="*/ 689 h 978"/>
                  <a:gd name="T70" fmla="*/ 1606 w 3337"/>
                  <a:gd name="T71" fmla="*/ 12 h 978"/>
                  <a:gd name="T72" fmla="*/ 1630 w 3337"/>
                  <a:gd name="T73" fmla="*/ 4 h 978"/>
                  <a:gd name="T74" fmla="*/ 1655 w 3337"/>
                  <a:gd name="T75" fmla="*/ 0 h 978"/>
                  <a:gd name="T76" fmla="*/ 1681 w 3337"/>
                  <a:gd name="T77" fmla="*/ 0 h 9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337" h="978">
                    <a:moveTo>
                      <a:pt x="1681" y="0"/>
                    </a:moveTo>
                    <a:lnTo>
                      <a:pt x="1705" y="4"/>
                    </a:lnTo>
                    <a:lnTo>
                      <a:pt x="1731" y="12"/>
                    </a:lnTo>
                    <a:lnTo>
                      <a:pt x="3235" y="684"/>
                    </a:lnTo>
                    <a:lnTo>
                      <a:pt x="3259" y="695"/>
                    </a:lnTo>
                    <a:lnTo>
                      <a:pt x="3281" y="710"/>
                    </a:lnTo>
                    <a:lnTo>
                      <a:pt x="3301" y="728"/>
                    </a:lnTo>
                    <a:lnTo>
                      <a:pt x="3315" y="750"/>
                    </a:lnTo>
                    <a:lnTo>
                      <a:pt x="3328" y="774"/>
                    </a:lnTo>
                    <a:lnTo>
                      <a:pt x="3335" y="800"/>
                    </a:lnTo>
                    <a:lnTo>
                      <a:pt x="3337" y="827"/>
                    </a:lnTo>
                    <a:lnTo>
                      <a:pt x="3334" y="857"/>
                    </a:lnTo>
                    <a:lnTo>
                      <a:pt x="3326" y="886"/>
                    </a:lnTo>
                    <a:lnTo>
                      <a:pt x="3311" y="911"/>
                    </a:lnTo>
                    <a:lnTo>
                      <a:pt x="3293" y="934"/>
                    </a:lnTo>
                    <a:lnTo>
                      <a:pt x="3270" y="952"/>
                    </a:lnTo>
                    <a:lnTo>
                      <a:pt x="3245" y="966"/>
                    </a:lnTo>
                    <a:lnTo>
                      <a:pt x="3216" y="975"/>
                    </a:lnTo>
                    <a:lnTo>
                      <a:pt x="3185" y="978"/>
                    </a:lnTo>
                    <a:lnTo>
                      <a:pt x="152" y="978"/>
                    </a:lnTo>
                    <a:lnTo>
                      <a:pt x="122" y="975"/>
                    </a:lnTo>
                    <a:lnTo>
                      <a:pt x="93" y="966"/>
                    </a:lnTo>
                    <a:lnTo>
                      <a:pt x="68" y="953"/>
                    </a:lnTo>
                    <a:lnTo>
                      <a:pt x="46" y="935"/>
                    </a:lnTo>
                    <a:lnTo>
                      <a:pt x="27" y="912"/>
                    </a:lnTo>
                    <a:lnTo>
                      <a:pt x="13" y="887"/>
                    </a:lnTo>
                    <a:lnTo>
                      <a:pt x="4" y="859"/>
                    </a:lnTo>
                    <a:lnTo>
                      <a:pt x="0" y="833"/>
                    </a:lnTo>
                    <a:lnTo>
                      <a:pt x="2" y="807"/>
                    </a:lnTo>
                    <a:lnTo>
                      <a:pt x="7" y="782"/>
                    </a:lnTo>
                    <a:lnTo>
                      <a:pt x="17" y="759"/>
                    </a:lnTo>
                    <a:lnTo>
                      <a:pt x="29" y="738"/>
                    </a:lnTo>
                    <a:lnTo>
                      <a:pt x="47" y="718"/>
                    </a:lnTo>
                    <a:lnTo>
                      <a:pt x="67" y="703"/>
                    </a:lnTo>
                    <a:lnTo>
                      <a:pt x="90" y="689"/>
                    </a:lnTo>
                    <a:lnTo>
                      <a:pt x="1606" y="12"/>
                    </a:lnTo>
                    <a:lnTo>
                      <a:pt x="1630" y="4"/>
                    </a:lnTo>
                    <a:lnTo>
                      <a:pt x="1655" y="0"/>
                    </a:lnTo>
                    <a:lnTo>
                      <a:pt x="16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5" name="Rectangle 14"/>
          <p:cNvSpPr/>
          <p:nvPr/>
        </p:nvSpPr>
        <p:spPr>
          <a:xfrm>
            <a:off x="0" y="4489938"/>
            <a:ext cx="12203723" cy="2368062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/>
          <p:cNvSpPr/>
          <p:nvPr/>
        </p:nvSpPr>
        <p:spPr>
          <a:xfrm>
            <a:off x="727924" y="4824046"/>
            <a:ext cx="1699846" cy="169984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2887437" y="5235750"/>
            <a:ext cx="8175576" cy="98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udents will have the opportunity to job shadow, complete coursework, and participate in </a:t>
            </a:r>
            <a:r>
              <a:rPr lang="en-US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ork-based learning </a:t>
            </a:r>
            <a:r>
              <a: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pportunities that will prepare them to pursue technical careers in skilled trades upon graduation.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2BC769A-CB95-44A3-8A9C-6D3429605386}"/>
              </a:ext>
            </a:extLst>
          </p:cNvPr>
          <p:cNvSpPr txBox="1">
            <a:spLocks/>
          </p:cNvSpPr>
          <p:nvPr/>
        </p:nvSpPr>
        <p:spPr>
          <a:xfrm>
            <a:off x="723901" y="930923"/>
            <a:ext cx="10820400" cy="307777"/>
          </a:xfrm>
          <a:prstGeom prst="rect">
            <a:avLst/>
          </a:prstGeom>
        </p:spPr>
        <p:txBody>
          <a:bodyPr/>
          <a:lstStyle>
            <a:lvl1pPr marL="0" indent="0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2" indent="-196046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337" indent="-267335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32" indent="-158781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0033" indent="-128054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259" indent="-132858" algn="l" defTabSz="9138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kern="0" dirty="0" smtClean="0"/>
              <a:t>Helping Transitional Studies Students Cross the Finish Line</a:t>
            </a:r>
            <a:endParaRPr lang="en-IN" sz="2000" kern="0" dirty="0"/>
          </a:p>
        </p:txBody>
      </p:sp>
      <p:sp>
        <p:nvSpPr>
          <p:cNvPr id="47" name="Plus 46"/>
          <p:cNvSpPr/>
          <p:nvPr/>
        </p:nvSpPr>
        <p:spPr>
          <a:xfrm>
            <a:off x="3136583" y="2303894"/>
            <a:ext cx="1000618" cy="899948"/>
          </a:xfrm>
          <a:prstGeom prst="mathPlus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49" name="Plus 48"/>
          <p:cNvSpPr/>
          <p:nvPr/>
        </p:nvSpPr>
        <p:spPr>
          <a:xfrm>
            <a:off x="5596761" y="2303894"/>
            <a:ext cx="1000618" cy="899948"/>
          </a:xfrm>
          <a:prstGeom prst="mathPlus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50" name="Plus 49"/>
          <p:cNvSpPr/>
          <p:nvPr/>
        </p:nvSpPr>
        <p:spPr>
          <a:xfrm>
            <a:off x="8095067" y="2311818"/>
            <a:ext cx="1000618" cy="899948"/>
          </a:xfrm>
          <a:prstGeom prst="mathPlus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063013" y="2516990"/>
            <a:ext cx="620987" cy="1974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1063013" y="2794644"/>
            <a:ext cx="620987" cy="19745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890918" y="4839530"/>
            <a:ext cx="81755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400" b="1" kern="0" dirty="0" smtClean="0">
                <a:solidFill>
                  <a:schemeClr val="bg1"/>
                </a:solidFill>
                <a:latin typeface="Open Sans" panose="020B0606030504020204"/>
                <a:cs typeface="Arial" pitchFamily="34" charset="0"/>
              </a:rPr>
              <a:t>Fast Track to Industry</a:t>
            </a:r>
            <a:endParaRPr lang="en-US" sz="2400" b="1" kern="0" dirty="0">
              <a:solidFill>
                <a:schemeClr val="bg1"/>
              </a:solidFill>
              <a:latin typeface="Open Sans" panose="020B0606030504020204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34" y="4773142"/>
            <a:ext cx="2105025" cy="1914525"/>
          </a:xfrm>
          <a:prstGeom prst="rect">
            <a:avLst/>
          </a:prstGeom>
        </p:spPr>
      </p:pic>
      <p:sp>
        <p:nvSpPr>
          <p:cNvPr id="69" name="Title 1">
            <a:extLst>
              <a:ext uri="{FF2B5EF4-FFF2-40B4-BE49-F238E27FC236}">
                <a16:creationId xmlns:a16="http://schemas.microsoft.com/office/drawing/2014/main" id="{0807BB20-28F3-4851-947F-E1DE740240F1}"/>
              </a:ext>
            </a:extLst>
          </p:cNvPr>
          <p:cNvSpPr txBox="1">
            <a:spLocks/>
          </p:cNvSpPr>
          <p:nvPr/>
        </p:nvSpPr>
        <p:spPr bwMode="auto">
          <a:xfrm>
            <a:off x="723900" y="230315"/>
            <a:ext cx="10820400" cy="769441"/>
          </a:xfrm>
          <a:prstGeom prst="rect">
            <a:avLst/>
          </a:prstGeom>
          <a:extLst/>
        </p:spPr>
        <p:txBody>
          <a:bodyPr>
            <a:spAutoFit/>
          </a:bodyPr>
          <a:lstStyle>
            <a:lvl1pPr algn="l" defTabSz="91380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436" algn="l"/>
              </a:tabLst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2pPr>
            <a:lvl3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3pPr>
            <a:lvl4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4pPr>
            <a:lvl5pPr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5pPr>
            <a:lvl6pPr marL="466621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6pPr>
            <a:lvl7pPr marL="933242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7pPr>
            <a:lvl8pPr marL="1399863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8pPr>
            <a:lvl9pPr marL="1866485" algn="l" defTabSz="913800" rtl="0" eaLnBrk="1" fontAlgn="base" hangingPunct="1">
              <a:spcBef>
                <a:spcPct val="0"/>
              </a:spcBef>
              <a:spcAft>
                <a:spcPct val="0"/>
              </a:spcAft>
              <a:defRPr sz="194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IN" sz="4400" dirty="0" smtClean="0"/>
              <a:t>A Different Approach</a:t>
            </a:r>
            <a:endParaRPr lang="en-IN" sz="4400" dirty="0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7690" y="2139188"/>
            <a:ext cx="868562" cy="868562"/>
          </a:xfrm>
          <a:prstGeom prst="rect">
            <a:avLst/>
          </a:prstGeom>
        </p:spPr>
      </p:pic>
      <p:sp>
        <p:nvSpPr>
          <p:cNvPr id="17" name="Plus 16"/>
          <p:cNvSpPr/>
          <p:nvPr/>
        </p:nvSpPr>
        <p:spPr>
          <a:xfrm>
            <a:off x="1775960" y="2000856"/>
            <a:ext cx="1223559" cy="1135049"/>
          </a:xfrm>
          <a:prstGeom prst="mathPlus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57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74868-ECAD-4C80-8C0C-00C853783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Initiative 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Fast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Track to 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Industry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8A0EF46-D052-4AF3-B428-70AA4FEBD458}"/>
              </a:ext>
            </a:extLst>
          </p:cNvPr>
          <p:cNvSpPr>
            <a:spLocks/>
          </p:cNvSpPr>
          <p:nvPr/>
        </p:nvSpPr>
        <p:spPr bwMode="auto">
          <a:xfrm>
            <a:off x="768671" y="5067348"/>
            <a:ext cx="701142" cy="537566"/>
          </a:xfrm>
          <a:custGeom>
            <a:avLst/>
            <a:gdLst>
              <a:gd name="T0" fmla="*/ 1391 w 1416"/>
              <a:gd name="T1" fmla="*/ 150 h 1085"/>
              <a:gd name="T2" fmla="*/ 1266 w 1416"/>
              <a:gd name="T3" fmla="*/ 26 h 1085"/>
              <a:gd name="T4" fmla="*/ 1204 w 1416"/>
              <a:gd name="T5" fmla="*/ 0 h 1085"/>
              <a:gd name="T6" fmla="*/ 1142 w 1416"/>
              <a:gd name="T7" fmla="*/ 26 h 1085"/>
              <a:gd name="T8" fmla="*/ 543 w 1416"/>
              <a:gd name="T9" fmla="*/ 626 h 1085"/>
              <a:gd name="T10" fmla="*/ 274 w 1416"/>
              <a:gd name="T11" fmla="*/ 356 h 1085"/>
              <a:gd name="T12" fmla="*/ 212 w 1416"/>
              <a:gd name="T13" fmla="*/ 331 h 1085"/>
              <a:gd name="T14" fmla="*/ 150 w 1416"/>
              <a:gd name="T15" fmla="*/ 356 h 1085"/>
              <a:gd name="T16" fmla="*/ 26 w 1416"/>
              <a:gd name="T17" fmla="*/ 481 h 1085"/>
              <a:gd name="T18" fmla="*/ 0 w 1416"/>
              <a:gd name="T19" fmla="*/ 543 h 1085"/>
              <a:gd name="T20" fmla="*/ 26 w 1416"/>
              <a:gd name="T21" fmla="*/ 605 h 1085"/>
              <a:gd name="T22" fmla="*/ 356 w 1416"/>
              <a:gd name="T23" fmla="*/ 936 h 1085"/>
              <a:gd name="T24" fmla="*/ 481 w 1416"/>
              <a:gd name="T25" fmla="*/ 1060 h 1085"/>
              <a:gd name="T26" fmla="*/ 543 w 1416"/>
              <a:gd name="T27" fmla="*/ 1085 h 1085"/>
              <a:gd name="T28" fmla="*/ 605 w 1416"/>
              <a:gd name="T29" fmla="*/ 1060 h 1085"/>
              <a:gd name="T30" fmla="*/ 729 w 1416"/>
              <a:gd name="T31" fmla="*/ 936 h 1085"/>
              <a:gd name="T32" fmla="*/ 1391 w 1416"/>
              <a:gd name="T33" fmla="*/ 274 h 1085"/>
              <a:gd name="T34" fmla="*/ 1416 w 1416"/>
              <a:gd name="T35" fmla="*/ 212 h 1085"/>
              <a:gd name="T36" fmla="*/ 1391 w 1416"/>
              <a:gd name="T37" fmla="*/ 150 h 10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416" h="1085">
                <a:moveTo>
                  <a:pt x="1391" y="150"/>
                </a:moveTo>
                <a:cubicBezTo>
                  <a:pt x="1266" y="26"/>
                  <a:pt x="1266" y="26"/>
                  <a:pt x="1266" y="26"/>
                </a:cubicBezTo>
                <a:cubicBezTo>
                  <a:pt x="1249" y="9"/>
                  <a:pt x="1229" y="0"/>
                  <a:pt x="1204" y="0"/>
                </a:cubicBezTo>
                <a:cubicBezTo>
                  <a:pt x="1180" y="0"/>
                  <a:pt x="1159" y="9"/>
                  <a:pt x="1142" y="26"/>
                </a:cubicBezTo>
                <a:cubicBezTo>
                  <a:pt x="543" y="626"/>
                  <a:pt x="543" y="626"/>
                  <a:pt x="543" y="626"/>
                </a:cubicBezTo>
                <a:cubicBezTo>
                  <a:pt x="274" y="356"/>
                  <a:pt x="274" y="356"/>
                  <a:pt x="274" y="356"/>
                </a:cubicBezTo>
                <a:cubicBezTo>
                  <a:pt x="257" y="339"/>
                  <a:pt x="236" y="331"/>
                  <a:pt x="212" y="331"/>
                </a:cubicBezTo>
                <a:cubicBezTo>
                  <a:pt x="188" y="331"/>
                  <a:pt x="167" y="339"/>
                  <a:pt x="150" y="356"/>
                </a:cubicBezTo>
                <a:cubicBezTo>
                  <a:pt x="26" y="481"/>
                  <a:pt x="26" y="481"/>
                  <a:pt x="26" y="481"/>
                </a:cubicBezTo>
                <a:cubicBezTo>
                  <a:pt x="9" y="498"/>
                  <a:pt x="0" y="518"/>
                  <a:pt x="0" y="543"/>
                </a:cubicBezTo>
                <a:cubicBezTo>
                  <a:pt x="0" y="567"/>
                  <a:pt x="9" y="588"/>
                  <a:pt x="26" y="605"/>
                </a:cubicBezTo>
                <a:cubicBezTo>
                  <a:pt x="356" y="936"/>
                  <a:pt x="356" y="936"/>
                  <a:pt x="356" y="936"/>
                </a:cubicBezTo>
                <a:cubicBezTo>
                  <a:pt x="481" y="1060"/>
                  <a:pt x="481" y="1060"/>
                  <a:pt x="481" y="1060"/>
                </a:cubicBezTo>
                <a:cubicBezTo>
                  <a:pt x="498" y="1077"/>
                  <a:pt x="518" y="1085"/>
                  <a:pt x="543" y="1085"/>
                </a:cubicBezTo>
                <a:cubicBezTo>
                  <a:pt x="567" y="1085"/>
                  <a:pt x="588" y="1077"/>
                  <a:pt x="605" y="1060"/>
                </a:cubicBezTo>
                <a:cubicBezTo>
                  <a:pt x="729" y="936"/>
                  <a:pt x="729" y="936"/>
                  <a:pt x="729" y="936"/>
                </a:cubicBezTo>
                <a:cubicBezTo>
                  <a:pt x="1391" y="274"/>
                  <a:pt x="1391" y="274"/>
                  <a:pt x="1391" y="274"/>
                </a:cubicBezTo>
                <a:cubicBezTo>
                  <a:pt x="1408" y="257"/>
                  <a:pt x="1416" y="236"/>
                  <a:pt x="1416" y="212"/>
                </a:cubicBezTo>
                <a:cubicBezTo>
                  <a:pt x="1416" y="188"/>
                  <a:pt x="1408" y="167"/>
                  <a:pt x="1391" y="1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3F002A-F4EF-43F5-B645-1219A2017082}"/>
              </a:ext>
            </a:extLst>
          </p:cNvPr>
          <p:cNvSpPr txBox="1"/>
          <p:nvPr/>
        </p:nvSpPr>
        <p:spPr>
          <a:xfrm>
            <a:off x="1760468" y="4211688"/>
            <a:ext cx="9962830" cy="812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Increased number of skilled talent in the workforce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Support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of PCC students completing high school equivalency and/or basic skills plus program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Recognitio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as a “Fast Track to Industry” partn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B14633-DDD3-460A-BE0B-6667DB07F2BD}"/>
              </a:ext>
            </a:extLst>
          </p:cNvPr>
          <p:cNvSpPr/>
          <p:nvPr/>
        </p:nvSpPr>
        <p:spPr>
          <a:xfrm>
            <a:off x="1760468" y="1196533"/>
            <a:ext cx="7650952" cy="400110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US" sz="2000" b="1" kern="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Program Objectives &amp; Goals</a:t>
            </a:r>
            <a:endParaRPr lang="en-US" sz="2000" b="1" kern="0" dirty="0">
              <a:solidFill>
                <a:schemeClr val="accent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B7C86153-9162-4D0E-BCAC-18D245228881}"/>
              </a:ext>
            </a:extLst>
          </p:cNvPr>
          <p:cNvSpPr>
            <a:spLocks noEditPoints="1"/>
          </p:cNvSpPr>
          <p:nvPr/>
        </p:nvSpPr>
        <p:spPr bwMode="auto">
          <a:xfrm>
            <a:off x="723900" y="1196533"/>
            <a:ext cx="745662" cy="745146"/>
          </a:xfrm>
          <a:custGeom>
            <a:avLst/>
            <a:gdLst>
              <a:gd name="T0" fmla="*/ 2271 w 2281"/>
              <a:gd name="T1" fmla="*/ 1015 h 2279"/>
              <a:gd name="T2" fmla="*/ 2198 w 2281"/>
              <a:gd name="T3" fmla="*/ 959 h 2279"/>
              <a:gd name="T4" fmla="*/ 1962 w 2281"/>
              <a:gd name="T5" fmla="*/ 803 h 2279"/>
              <a:gd name="T6" fmla="*/ 2026 w 2281"/>
              <a:gd name="T7" fmla="*/ 521 h 2279"/>
              <a:gd name="T8" fmla="*/ 2033 w 2281"/>
              <a:gd name="T9" fmla="*/ 435 h 2279"/>
              <a:gd name="T10" fmla="*/ 1852 w 2281"/>
              <a:gd name="T11" fmla="*/ 253 h 2279"/>
              <a:gd name="T12" fmla="*/ 1766 w 2281"/>
              <a:gd name="T13" fmla="*/ 260 h 2279"/>
              <a:gd name="T14" fmla="*/ 1482 w 2281"/>
              <a:gd name="T15" fmla="*/ 324 h 2279"/>
              <a:gd name="T16" fmla="*/ 1328 w 2281"/>
              <a:gd name="T17" fmla="*/ 77 h 2279"/>
              <a:gd name="T18" fmla="*/ 1272 w 2281"/>
              <a:gd name="T19" fmla="*/ 11 h 2279"/>
              <a:gd name="T20" fmla="*/ 1016 w 2281"/>
              <a:gd name="T21" fmla="*/ 10 h 2279"/>
              <a:gd name="T22" fmla="*/ 960 w 2281"/>
              <a:gd name="T23" fmla="*/ 75 h 2279"/>
              <a:gd name="T24" fmla="*/ 804 w 2281"/>
              <a:gd name="T25" fmla="*/ 318 h 2279"/>
              <a:gd name="T26" fmla="*/ 523 w 2281"/>
              <a:gd name="T27" fmla="*/ 254 h 2279"/>
              <a:gd name="T28" fmla="*/ 437 w 2281"/>
              <a:gd name="T29" fmla="*/ 246 h 2279"/>
              <a:gd name="T30" fmla="*/ 253 w 2281"/>
              <a:gd name="T31" fmla="*/ 428 h 2279"/>
              <a:gd name="T32" fmla="*/ 259 w 2281"/>
              <a:gd name="T33" fmla="*/ 515 h 2279"/>
              <a:gd name="T34" fmla="*/ 323 w 2281"/>
              <a:gd name="T35" fmla="*/ 799 h 2279"/>
              <a:gd name="T36" fmla="*/ 75 w 2281"/>
              <a:gd name="T37" fmla="*/ 953 h 2279"/>
              <a:gd name="T38" fmla="*/ 10 w 2281"/>
              <a:gd name="T39" fmla="*/ 1009 h 2279"/>
              <a:gd name="T40" fmla="*/ 9 w 2281"/>
              <a:gd name="T41" fmla="*/ 1267 h 2279"/>
              <a:gd name="T42" fmla="*/ 84 w 2281"/>
              <a:gd name="T43" fmla="*/ 1323 h 2279"/>
              <a:gd name="T44" fmla="*/ 318 w 2281"/>
              <a:gd name="T45" fmla="*/ 1479 h 2279"/>
              <a:gd name="T46" fmla="*/ 254 w 2281"/>
              <a:gd name="T47" fmla="*/ 1761 h 2279"/>
              <a:gd name="T48" fmla="*/ 247 w 2281"/>
              <a:gd name="T49" fmla="*/ 1847 h 2279"/>
              <a:gd name="T50" fmla="*/ 427 w 2281"/>
              <a:gd name="T51" fmla="*/ 2029 h 2279"/>
              <a:gd name="T52" fmla="*/ 514 w 2281"/>
              <a:gd name="T53" fmla="*/ 2022 h 2279"/>
              <a:gd name="T54" fmla="*/ 798 w 2281"/>
              <a:gd name="T55" fmla="*/ 1958 h 2279"/>
              <a:gd name="T56" fmla="*/ 952 w 2281"/>
              <a:gd name="T57" fmla="*/ 2205 h 2279"/>
              <a:gd name="T58" fmla="*/ 1008 w 2281"/>
              <a:gd name="T59" fmla="*/ 2271 h 2279"/>
              <a:gd name="T60" fmla="*/ 1139 w 2281"/>
              <a:gd name="T61" fmla="*/ 2279 h 2279"/>
              <a:gd name="T62" fmla="*/ 1264 w 2281"/>
              <a:gd name="T63" fmla="*/ 2272 h 2279"/>
              <a:gd name="T64" fmla="*/ 1320 w 2281"/>
              <a:gd name="T65" fmla="*/ 2207 h 2279"/>
              <a:gd name="T66" fmla="*/ 1476 w 2281"/>
              <a:gd name="T67" fmla="*/ 1964 h 2279"/>
              <a:gd name="T68" fmla="*/ 1757 w 2281"/>
              <a:gd name="T69" fmla="*/ 2028 h 2279"/>
              <a:gd name="T70" fmla="*/ 1843 w 2281"/>
              <a:gd name="T71" fmla="*/ 2036 h 2279"/>
              <a:gd name="T72" fmla="*/ 2027 w 2281"/>
              <a:gd name="T73" fmla="*/ 1854 h 2279"/>
              <a:gd name="T74" fmla="*/ 2021 w 2281"/>
              <a:gd name="T75" fmla="*/ 1767 h 2279"/>
              <a:gd name="T76" fmla="*/ 1957 w 2281"/>
              <a:gd name="T77" fmla="*/ 1483 h 2279"/>
              <a:gd name="T78" fmla="*/ 2190 w 2281"/>
              <a:gd name="T79" fmla="*/ 1329 h 2279"/>
              <a:gd name="T80" fmla="*/ 2204 w 2281"/>
              <a:gd name="T81" fmla="*/ 1329 h 2279"/>
              <a:gd name="T82" fmla="*/ 2270 w 2281"/>
              <a:gd name="T83" fmla="*/ 1273 h 2279"/>
              <a:gd name="T84" fmla="*/ 2271 w 2281"/>
              <a:gd name="T85" fmla="*/ 1015 h 2279"/>
              <a:gd name="T86" fmla="*/ 1142 w 2281"/>
              <a:gd name="T87" fmla="*/ 1523 h 2279"/>
              <a:gd name="T88" fmla="*/ 762 w 2281"/>
              <a:gd name="T89" fmla="*/ 1143 h 2279"/>
              <a:gd name="T90" fmla="*/ 1142 w 2281"/>
              <a:gd name="T91" fmla="*/ 764 h 2279"/>
              <a:gd name="T92" fmla="*/ 1521 w 2281"/>
              <a:gd name="T93" fmla="*/ 1143 h 2279"/>
              <a:gd name="T94" fmla="*/ 1142 w 2281"/>
              <a:gd name="T95" fmla="*/ 1523 h 2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281" h="2279">
                <a:moveTo>
                  <a:pt x="2271" y="1015"/>
                </a:moveTo>
                <a:cubicBezTo>
                  <a:pt x="2267" y="983"/>
                  <a:pt x="2230" y="959"/>
                  <a:pt x="2198" y="959"/>
                </a:cubicBezTo>
                <a:cubicBezTo>
                  <a:pt x="2093" y="959"/>
                  <a:pt x="2001" y="897"/>
                  <a:pt x="1962" y="803"/>
                </a:cubicBezTo>
                <a:cubicBezTo>
                  <a:pt x="1922" y="706"/>
                  <a:pt x="1948" y="593"/>
                  <a:pt x="2026" y="521"/>
                </a:cubicBezTo>
                <a:cubicBezTo>
                  <a:pt x="2050" y="499"/>
                  <a:pt x="2053" y="461"/>
                  <a:pt x="2033" y="435"/>
                </a:cubicBezTo>
                <a:cubicBezTo>
                  <a:pt x="1979" y="368"/>
                  <a:pt x="1919" y="306"/>
                  <a:pt x="1852" y="253"/>
                </a:cubicBezTo>
                <a:cubicBezTo>
                  <a:pt x="1826" y="233"/>
                  <a:pt x="1788" y="235"/>
                  <a:pt x="1766" y="260"/>
                </a:cubicBezTo>
                <a:cubicBezTo>
                  <a:pt x="1698" y="335"/>
                  <a:pt x="1576" y="363"/>
                  <a:pt x="1482" y="324"/>
                </a:cubicBezTo>
                <a:cubicBezTo>
                  <a:pt x="1384" y="283"/>
                  <a:pt x="1322" y="184"/>
                  <a:pt x="1328" y="77"/>
                </a:cubicBezTo>
                <a:cubicBezTo>
                  <a:pt x="1330" y="44"/>
                  <a:pt x="1306" y="14"/>
                  <a:pt x="1272" y="11"/>
                </a:cubicBezTo>
                <a:cubicBezTo>
                  <a:pt x="1187" y="1"/>
                  <a:pt x="1102" y="0"/>
                  <a:pt x="1016" y="10"/>
                </a:cubicBezTo>
                <a:cubicBezTo>
                  <a:pt x="983" y="14"/>
                  <a:pt x="959" y="42"/>
                  <a:pt x="960" y="75"/>
                </a:cubicBezTo>
                <a:cubicBezTo>
                  <a:pt x="964" y="181"/>
                  <a:pt x="901" y="278"/>
                  <a:pt x="804" y="318"/>
                </a:cubicBezTo>
                <a:cubicBezTo>
                  <a:pt x="711" y="356"/>
                  <a:pt x="590" y="328"/>
                  <a:pt x="523" y="254"/>
                </a:cubicBezTo>
                <a:cubicBezTo>
                  <a:pt x="500" y="229"/>
                  <a:pt x="463" y="226"/>
                  <a:pt x="437" y="246"/>
                </a:cubicBezTo>
                <a:cubicBezTo>
                  <a:pt x="368" y="300"/>
                  <a:pt x="306" y="361"/>
                  <a:pt x="253" y="428"/>
                </a:cubicBezTo>
                <a:cubicBezTo>
                  <a:pt x="232" y="455"/>
                  <a:pt x="235" y="492"/>
                  <a:pt x="259" y="515"/>
                </a:cubicBezTo>
                <a:cubicBezTo>
                  <a:pt x="339" y="587"/>
                  <a:pt x="364" y="701"/>
                  <a:pt x="323" y="799"/>
                </a:cubicBezTo>
                <a:cubicBezTo>
                  <a:pt x="284" y="892"/>
                  <a:pt x="187" y="953"/>
                  <a:pt x="75" y="953"/>
                </a:cubicBezTo>
                <a:cubicBezTo>
                  <a:pt x="39" y="952"/>
                  <a:pt x="14" y="976"/>
                  <a:pt x="10" y="1009"/>
                </a:cubicBezTo>
                <a:cubicBezTo>
                  <a:pt x="0" y="1094"/>
                  <a:pt x="0" y="1181"/>
                  <a:pt x="9" y="1267"/>
                </a:cubicBezTo>
                <a:cubicBezTo>
                  <a:pt x="13" y="1300"/>
                  <a:pt x="51" y="1323"/>
                  <a:pt x="84" y="1323"/>
                </a:cubicBezTo>
                <a:cubicBezTo>
                  <a:pt x="183" y="1321"/>
                  <a:pt x="278" y="1382"/>
                  <a:pt x="318" y="1479"/>
                </a:cubicBezTo>
                <a:cubicBezTo>
                  <a:pt x="358" y="1576"/>
                  <a:pt x="332" y="1689"/>
                  <a:pt x="254" y="1761"/>
                </a:cubicBezTo>
                <a:cubicBezTo>
                  <a:pt x="230" y="1783"/>
                  <a:pt x="227" y="1820"/>
                  <a:pt x="247" y="1847"/>
                </a:cubicBezTo>
                <a:cubicBezTo>
                  <a:pt x="300" y="1914"/>
                  <a:pt x="361" y="1975"/>
                  <a:pt x="427" y="2029"/>
                </a:cubicBezTo>
                <a:cubicBezTo>
                  <a:pt x="454" y="2050"/>
                  <a:pt x="491" y="2047"/>
                  <a:pt x="514" y="2022"/>
                </a:cubicBezTo>
                <a:cubicBezTo>
                  <a:pt x="582" y="1946"/>
                  <a:pt x="704" y="1919"/>
                  <a:pt x="798" y="1958"/>
                </a:cubicBezTo>
                <a:cubicBezTo>
                  <a:pt x="896" y="1999"/>
                  <a:pt x="958" y="2098"/>
                  <a:pt x="952" y="2205"/>
                </a:cubicBezTo>
                <a:cubicBezTo>
                  <a:pt x="950" y="2238"/>
                  <a:pt x="974" y="2268"/>
                  <a:pt x="1008" y="2271"/>
                </a:cubicBezTo>
                <a:cubicBezTo>
                  <a:pt x="1051" y="2276"/>
                  <a:pt x="1095" y="2279"/>
                  <a:pt x="1139" y="2279"/>
                </a:cubicBezTo>
                <a:cubicBezTo>
                  <a:pt x="1180" y="2279"/>
                  <a:pt x="1222" y="2277"/>
                  <a:pt x="1264" y="2272"/>
                </a:cubicBezTo>
                <a:cubicBezTo>
                  <a:pt x="1297" y="2268"/>
                  <a:pt x="1321" y="2240"/>
                  <a:pt x="1320" y="2207"/>
                </a:cubicBezTo>
                <a:cubicBezTo>
                  <a:pt x="1316" y="2101"/>
                  <a:pt x="1379" y="2004"/>
                  <a:pt x="1476" y="1964"/>
                </a:cubicBezTo>
                <a:cubicBezTo>
                  <a:pt x="1569" y="1926"/>
                  <a:pt x="1690" y="1954"/>
                  <a:pt x="1757" y="2028"/>
                </a:cubicBezTo>
                <a:cubicBezTo>
                  <a:pt x="1780" y="2053"/>
                  <a:pt x="1817" y="2056"/>
                  <a:pt x="1843" y="2036"/>
                </a:cubicBezTo>
                <a:cubicBezTo>
                  <a:pt x="1911" y="1982"/>
                  <a:pt x="1973" y="1921"/>
                  <a:pt x="2027" y="1854"/>
                </a:cubicBezTo>
                <a:cubicBezTo>
                  <a:pt x="2048" y="1827"/>
                  <a:pt x="2045" y="1790"/>
                  <a:pt x="2021" y="1767"/>
                </a:cubicBezTo>
                <a:cubicBezTo>
                  <a:pt x="1941" y="1695"/>
                  <a:pt x="1916" y="1581"/>
                  <a:pt x="1957" y="1483"/>
                </a:cubicBezTo>
                <a:cubicBezTo>
                  <a:pt x="1996" y="1391"/>
                  <a:pt x="2089" y="1329"/>
                  <a:pt x="2190" y="1329"/>
                </a:cubicBezTo>
                <a:cubicBezTo>
                  <a:pt x="2204" y="1329"/>
                  <a:pt x="2204" y="1329"/>
                  <a:pt x="2204" y="1329"/>
                </a:cubicBezTo>
                <a:cubicBezTo>
                  <a:pt x="2236" y="1332"/>
                  <a:pt x="2266" y="1307"/>
                  <a:pt x="2270" y="1273"/>
                </a:cubicBezTo>
                <a:cubicBezTo>
                  <a:pt x="2280" y="1188"/>
                  <a:pt x="2281" y="1101"/>
                  <a:pt x="2271" y="1015"/>
                </a:cubicBezTo>
                <a:close/>
                <a:moveTo>
                  <a:pt x="1142" y="1523"/>
                </a:moveTo>
                <a:cubicBezTo>
                  <a:pt x="933" y="1523"/>
                  <a:pt x="762" y="1353"/>
                  <a:pt x="762" y="1143"/>
                </a:cubicBezTo>
                <a:cubicBezTo>
                  <a:pt x="762" y="934"/>
                  <a:pt x="933" y="764"/>
                  <a:pt x="1142" y="764"/>
                </a:cubicBezTo>
                <a:cubicBezTo>
                  <a:pt x="1351" y="764"/>
                  <a:pt x="1521" y="934"/>
                  <a:pt x="1521" y="1143"/>
                </a:cubicBezTo>
                <a:cubicBezTo>
                  <a:pt x="1521" y="1353"/>
                  <a:pt x="1351" y="1523"/>
                  <a:pt x="1142" y="152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AECE2D-5D90-4E30-A7D0-77CFB85BF626}"/>
              </a:ext>
            </a:extLst>
          </p:cNvPr>
          <p:cNvSpPr/>
          <p:nvPr/>
        </p:nvSpPr>
        <p:spPr>
          <a:xfrm>
            <a:off x="1760468" y="5067348"/>
            <a:ext cx="3035819" cy="400110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US" sz="2000" b="1" kern="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Benefits to Students</a:t>
            </a:r>
            <a:endParaRPr lang="en-US" sz="2000" b="1" kern="0" dirty="0">
              <a:solidFill>
                <a:schemeClr val="accent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B38733CE-1BB9-4FAE-AE04-E91693034873}"/>
              </a:ext>
            </a:extLst>
          </p:cNvPr>
          <p:cNvSpPr>
            <a:spLocks noEditPoints="1"/>
          </p:cNvSpPr>
          <p:nvPr/>
        </p:nvSpPr>
        <p:spPr bwMode="auto">
          <a:xfrm>
            <a:off x="723900" y="3804695"/>
            <a:ext cx="745662" cy="745182"/>
          </a:xfrm>
          <a:custGeom>
            <a:avLst/>
            <a:gdLst>
              <a:gd name="T0" fmla="*/ 1552 w 1633"/>
              <a:gd name="T1" fmla="*/ 722 h 1632"/>
              <a:gd name="T2" fmla="*/ 1370 w 1633"/>
              <a:gd name="T3" fmla="*/ 540 h 1632"/>
              <a:gd name="T4" fmla="*/ 1423 w 1633"/>
              <a:gd name="T5" fmla="*/ 381 h 1632"/>
              <a:gd name="T6" fmla="*/ 1523 w 1633"/>
              <a:gd name="T7" fmla="*/ 110 h 1632"/>
              <a:gd name="T8" fmla="*/ 1252 w 1633"/>
              <a:gd name="T9" fmla="*/ 210 h 1632"/>
              <a:gd name="T10" fmla="*/ 1093 w 1633"/>
              <a:gd name="T11" fmla="*/ 263 h 1632"/>
              <a:gd name="T12" fmla="*/ 915 w 1633"/>
              <a:gd name="T13" fmla="*/ 84 h 1632"/>
              <a:gd name="T14" fmla="*/ 721 w 1633"/>
              <a:gd name="T15" fmla="*/ 84 h 1632"/>
              <a:gd name="T16" fmla="*/ 541 w 1633"/>
              <a:gd name="T17" fmla="*/ 265 h 1632"/>
              <a:gd name="T18" fmla="*/ 381 w 1633"/>
              <a:gd name="T19" fmla="*/ 212 h 1632"/>
              <a:gd name="T20" fmla="*/ 110 w 1633"/>
              <a:gd name="T21" fmla="*/ 111 h 1632"/>
              <a:gd name="T22" fmla="*/ 210 w 1633"/>
              <a:gd name="T23" fmla="*/ 383 h 1632"/>
              <a:gd name="T24" fmla="*/ 264 w 1633"/>
              <a:gd name="T25" fmla="*/ 542 h 1632"/>
              <a:gd name="T26" fmla="*/ 84 w 1633"/>
              <a:gd name="T27" fmla="*/ 722 h 1632"/>
              <a:gd name="T28" fmla="*/ 84 w 1633"/>
              <a:gd name="T29" fmla="*/ 916 h 1632"/>
              <a:gd name="T30" fmla="*/ 262 w 1633"/>
              <a:gd name="T31" fmla="*/ 1094 h 1632"/>
              <a:gd name="T32" fmla="*/ 211 w 1633"/>
              <a:gd name="T33" fmla="*/ 1251 h 1632"/>
              <a:gd name="T34" fmla="*/ 111 w 1633"/>
              <a:gd name="T35" fmla="*/ 1522 h 1632"/>
              <a:gd name="T36" fmla="*/ 381 w 1633"/>
              <a:gd name="T37" fmla="*/ 1422 h 1632"/>
              <a:gd name="T38" fmla="*/ 539 w 1633"/>
              <a:gd name="T39" fmla="*/ 1371 h 1632"/>
              <a:gd name="T40" fmla="*/ 719 w 1633"/>
              <a:gd name="T41" fmla="*/ 1550 h 1632"/>
              <a:gd name="T42" fmla="*/ 917 w 1633"/>
              <a:gd name="T43" fmla="*/ 1551 h 1632"/>
              <a:gd name="T44" fmla="*/ 1097 w 1633"/>
              <a:gd name="T45" fmla="*/ 1371 h 1632"/>
              <a:gd name="T46" fmla="*/ 1042 w 1633"/>
              <a:gd name="T47" fmla="*/ 1214 h 1632"/>
              <a:gd name="T48" fmla="*/ 941 w 1633"/>
              <a:gd name="T49" fmla="*/ 942 h 1632"/>
              <a:gd name="T50" fmla="*/ 1212 w 1633"/>
              <a:gd name="T51" fmla="*/ 1043 h 1632"/>
              <a:gd name="T52" fmla="*/ 1369 w 1633"/>
              <a:gd name="T53" fmla="*/ 1099 h 1632"/>
              <a:gd name="T54" fmla="*/ 1550 w 1633"/>
              <a:gd name="T55" fmla="*/ 918 h 1632"/>
              <a:gd name="T56" fmla="*/ 1550 w 1633"/>
              <a:gd name="T57" fmla="*/ 917 h 1632"/>
              <a:gd name="T58" fmla="*/ 1552 w 1633"/>
              <a:gd name="T59" fmla="*/ 915 h 1632"/>
              <a:gd name="T60" fmla="*/ 1552 w 1633"/>
              <a:gd name="T61" fmla="*/ 722 h 1632"/>
              <a:gd name="T62" fmla="*/ 1552 w 1633"/>
              <a:gd name="T63" fmla="*/ 722 h 1632"/>
              <a:gd name="T64" fmla="*/ 1552 w 1633"/>
              <a:gd name="T65" fmla="*/ 722 h 1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33" h="1632">
                <a:moveTo>
                  <a:pt x="1552" y="722"/>
                </a:moveTo>
                <a:cubicBezTo>
                  <a:pt x="1370" y="540"/>
                  <a:pt x="1370" y="540"/>
                  <a:pt x="1370" y="540"/>
                </a:cubicBezTo>
                <a:cubicBezTo>
                  <a:pt x="1295" y="465"/>
                  <a:pt x="1341" y="386"/>
                  <a:pt x="1423" y="381"/>
                </a:cubicBezTo>
                <a:cubicBezTo>
                  <a:pt x="1557" y="372"/>
                  <a:pt x="1633" y="229"/>
                  <a:pt x="1523" y="110"/>
                </a:cubicBezTo>
                <a:cubicBezTo>
                  <a:pt x="1403" y="0"/>
                  <a:pt x="1261" y="76"/>
                  <a:pt x="1252" y="210"/>
                </a:cubicBezTo>
                <a:cubicBezTo>
                  <a:pt x="1247" y="291"/>
                  <a:pt x="1168" y="337"/>
                  <a:pt x="1093" y="263"/>
                </a:cubicBezTo>
                <a:cubicBezTo>
                  <a:pt x="915" y="84"/>
                  <a:pt x="915" y="84"/>
                  <a:pt x="915" y="84"/>
                </a:cubicBezTo>
                <a:cubicBezTo>
                  <a:pt x="861" y="31"/>
                  <a:pt x="775" y="31"/>
                  <a:pt x="721" y="84"/>
                </a:cubicBezTo>
                <a:cubicBezTo>
                  <a:pt x="541" y="265"/>
                  <a:pt x="541" y="265"/>
                  <a:pt x="541" y="265"/>
                </a:cubicBezTo>
                <a:cubicBezTo>
                  <a:pt x="466" y="340"/>
                  <a:pt x="386" y="293"/>
                  <a:pt x="381" y="212"/>
                </a:cubicBezTo>
                <a:cubicBezTo>
                  <a:pt x="373" y="77"/>
                  <a:pt x="229" y="1"/>
                  <a:pt x="110" y="111"/>
                </a:cubicBezTo>
                <a:cubicBezTo>
                  <a:pt x="0" y="230"/>
                  <a:pt x="76" y="374"/>
                  <a:pt x="210" y="383"/>
                </a:cubicBezTo>
                <a:cubicBezTo>
                  <a:pt x="292" y="388"/>
                  <a:pt x="338" y="468"/>
                  <a:pt x="264" y="542"/>
                </a:cubicBezTo>
                <a:cubicBezTo>
                  <a:pt x="84" y="722"/>
                  <a:pt x="84" y="722"/>
                  <a:pt x="84" y="722"/>
                </a:cubicBezTo>
                <a:cubicBezTo>
                  <a:pt x="31" y="775"/>
                  <a:pt x="31" y="862"/>
                  <a:pt x="84" y="916"/>
                </a:cubicBezTo>
                <a:cubicBezTo>
                  <a:pt x="262" y="1094"/>
                  <a:pt x="262" y="1094"/>
                  <a:pt x="262" y="1094"/>
                </a:cubicBezTo>
                <a:cubicBezTo>
                  <a:pt x="337" y="1168"/>
                  <a:pt x="293" y="1246"/>
                  <a:pt x="211" y="1251"/>
                </a:cubicBezTo>
                <a:cubicBezTo>
                  <a:pt x="77" y="1260"/>
                  <a:pt x="2" y="1403"/>
                  <a:pt x="111" y="1522"/>
                </a:cubicBezTo>
                <a:cubicBezTo>
                  <a:pt x="231" y="1632"/>
                  <a:pt x="373" y="1557"/>
                  <a:pt x="381" y="1422"/>
                </a:cubicBezTo>
                <a:cubicBezTo>
                  <a:pt x="386" y="1341"/>
                  <a:pt x="465" y="1296"/>
                  <a:pt x="539" y="1371"/>
                </a:cubicBezTo>
                <a:cubicBezTo>
                  <a:pt x="719" y="1550"/>
                  <a:pt x="719" y="1550"/>
                  <a:pt x="719" y="1550"/>
                </a:cubicBezTo>
                <a:cubicBezTo>
                  <a:pt x="774" y="1605"/>
                  <a:pt x="863" y="1605"/>
                  <a:pt x="917" y="1551"/>
                </a:cubicBezTo>
                <a:cubicBezTo>
                  <a:pt x="1097" y="1371"/>
                  <a:pt x="1097" y="1371"/>
                  <a:pt x="1097" y="1371"/>
                </a:cubicBezTo>
                <a:cubicBezTo>
                  <a:pt x="1168" y="1297"/>
                  <a:pt x="1122" y="1219"/>
                  <a:pt x="1042" y="1214"/>
                </a:cubicBezTo>
                <a:cubicBezTo>
                  <a:pt x="907" y="1205"/>
                  <a:pt x="831" y="1061"/>
                  <a:pt x="941" y="942"/>
                </a:cubicBezTo>
                <a:cubicBezTo>
                  <a:pt x="1060" y="832"/>
                  <a:pt x="1204" y="909"/>
                  <a:pt x="1212" y="1043"/>
                </a:cubicBezTo>
                <a:cubicBezTo>
                  <a:pt x="1218" y="1124"/>
                  <a:pt x="1295" y="1169"/>
                  <a:pt x="1369" y="1099"/>
                </a:cubicBezTo>
                <a:cubicBezTo>
                  <a:pt x="1550" y="918"/>
                  <a:pt x="1550" y="918"/>
                  <a:pt x="1550" y="918"/>
                </a:cubicBezTo>
                <a:cubicBezTo>
                  <a:pt x="1550" y="917"/>
                  <a:pt x="1550" y="917"/>
                  <a:pt x="1550" y="917"/>
                </a:cubicBezTo>
                <a:cubicBezTo>
                  <a:pt x="1552" y="915"/>
                  <a:pt x="1552" y="915"/>
                  <a:pt x="1552" y="915"/>
                </a:cubicBezTo>
                <a:cubicBezTo>
                  <a:pt x="1606" y="862"/>
                  <a:pt x="1606" y="775"/>
                  <a:pt x="1552" y="722"/>
                </a:cubicBezTo>
                <a:close/>
                <a:moveTo>
                  <a:pt x="1552" y="722"/>
                </a:moveTo>
                <a:cubicBezTo>
                  <a:pt x="1552" y="722"/>
                  <a:pt x="1552" y="722"/>
                  <a:pt x="1552" y="722"/>
                </a:cubicBezTo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AAC180F-BDBE-4209-B663-484A787B0DF3}"/>
              </a:ext>
            </a:extLst>
          </p:cNvPr>
          <p:cNvSpPr/>
          <p:nvPr/>
        </p:nvSpPr>
        <p:spPr>
          <a:xfrm>
            <a:off x="1760468" y="3811578"/>
            <a:ext cx="4019230" cy="400110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US" sz="2000" b="1" kern="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Benefits to Employer Partners</a:t>
            </a:r>
            <a:endParaRPr lang="en-US" sz="2000" b="1" kern="0" dirty="0">
              <a:solidFill>
                <a:schemeClr val="accent1"/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C3F002A-F4EF-43F5-B645-1219A2017082}"/>
              </a:ext>
            </a:extLst>
          </p:cNvPr>
          <p:cNvSpPr txBox="1"/>
          <p:nvPr/>
        </p:nvSpPr>
        <p:spPr>
          <a:xfrm>
            <a:off x="1760468" y="1599172"/>
            <a:ext cx="10212996" cy="2166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To Increase &amp; Improve…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N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umber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of qualified potential employees who reflect the hiring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needs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of Pitt County e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mployers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E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mployment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rate and earning potential of students who complete High School Equivalency or Adult High School Diploma by providing concurrent enrollment opportunities in credential-bearing courses of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study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N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umber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of students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who attain post-secondary credentials, stackable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credentials, and additional 3rd-party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certifications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E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ducational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functioning level of students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to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improve opportunities for program completion and credential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attainment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3F002A-F4EF-43F5-B645-1219A2017082}"/>
              </a:ext>
            </a:extLst>
          </p:cNvPr>
          <p:cNvSpPr txBox="1"/>
          <p:nvPr/>
        </p:nvSpPr>
        <p:spPr>
          <a:xfrm>
            <a:off x="1760468" y="5467458"/>
            <a:ext cx="9962830" cy="79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F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oundatio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of basic skills and knowledge required for employment in the skilled trades 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industry which includes technical skills learned in the classroom and through work-based learning, professional skills, as well as soft skills needed to be successful in the workplace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1723298" y="6653882"/>
            <a:ext cx="381346" cy="1178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46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5374868-ECAD-4C80-8C0C-00C853783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580" y="4544964"/>
            <a:ext cx="10820400" cy="2062103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itt Community College’s Mission Statement: 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“…PCC provides access to dynamic learning opportunities designed to foster successful career preparation, higher education transfer, community involvement, and global engagement.” </a:t>
            </a:r>
            <a:endParaRPr lang="en-IN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1723298" y="6653882"/>
            <a:ext cx="381346" cy="1178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err="1" smtClean="0">
              <a:solidFill>
                <a:schemeClr val="accent4"/>
              </a:solidFill>
            </a:endParaRPr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25" b="22725"/>
          <a:stretch>
            <a:fillRect/>
          </a:stretch>
        </p:blipFill>
        <p:spPr>
          <a:xfrm>
            <a:off x="0" y="0"/>
            <a:ext cx="12192000" cy="4433888"/>
          </a:xfr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616" y="6107502"/>
            <a:ext cx="1311028" cy="5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926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846" y="1549021"/>
            <a:ext cx="4432427" cy="3095774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673" y="1549021"/>
            <a:ext cx="3121652" cy="297235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89019" y="4739426"/>
            <a:ext cx="37269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usiness Administration &amp; 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formation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ogistics &amp; Supply Chain Management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5774" y="1364165"/>
            <a:ext cx="2336623" cy="233662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8" t="34743" r="4554" b="1032"/>
          <a:stretch/>
        </p:blipFill>
        <p:spPr>
          <a:xfrm>
            <a:off x="4767646" y="3946873"/>
            <a:ext cx="5464987" cy="278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21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287" y="219215"/>
            <a:ext cx="8593720" cy="829824"/>
          </a:xfrm>
          <a:solidFill>
            <a:schemeClr val="accent6"/>
          </a:solidFill>
        </p:spPr>
        <p:txBody>
          <a:bodyPr>
            <a:normAutofit/>
          </a:bodyPr>
          <a:lstStyle/>
          <a:p>
            <a:r>
              <a:rPr lang="en-US" b="1" i="0" dirty="0" smtClean="0">
                <a:solidFill>
                  <a:schemeClr val="tx2"/>
                </a:solidFill>
              </a:rPr>
              <a:t>NCWorks Career Pathways “Champions”</a:t>
            </a:r>
            <a:endParaRPr lang="en-US" b="1" i="0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9085" y="1455833"/>
            <a:ext cx="6726268" cy="4439023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en-US" u="sng" dirty="0" smtClean="0">
                <a:solidFill>
                  <a:schemeClr val="tx1"/>
                </a:solidFill>
              </a:rPr>
              <a:t>Beaufort</a:t>
            </a:r>
            <a:r>
              <a:rPr lang="en-US" dirty="0" smtClean="0">
                <a:solidFill>
                  <a:schemeClr val="tx1"/>
                </a:solidFill>
              </a:rPr>
              <a:t> – Andrew Bost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en-US" u="sng" dirty="0" smtClean="0">
                <a:solidFill>
                  <a:schemeClr val="tx1"/>
                </a:solidFill>
              </a:rPr>
              <a:t>Bertie &amp; Hertford</a:t>
            </a:r>
            <a:r>
              <a:rPr lang="en-US" dirty="0" smtClean="0">
                <a:solidFill>
                  <a:schemeClr val="tx1"/>
                </a:solidFill>
              </a:rPr>
              <a:t> – Ron Lee </a:t>
            </a:r>
            <a:r>
              <a:rPr lang="en-US" sz="800" b="1" i="1" dirty="0" smtClean="0">
                <a:solidFill>
                  <a:srgbClr val="00B050"/>
                </a:solidFill>
              </a:rPr>
              <a:t>new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en-US" u="sng" dirty="0" smtClean="0">
                <a:solidFill>
                  <a:schemeClr val="tx1"/>
                </a:solidFill>
              </a:rPr>
              <a:t>Dare</a:t>
            </a:r>
            <a:r>
              <a:rPr lang="en-US" dirty="0" smtClean="0">
                <a:solidFill>
                  <a:schemeClr val="tx1"/>
                </a:solidFill>
              </a:rPr>
              <a:t> – Lucy  Wallace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  </a:t>
            </a:r>
            <a:r>
              <a:rPr lang="en-US" u="sng" dirty="0" smtClean="0">
                <a:solidFill>
                  <a:schemeClr val="tx1"/>
                </a:solidFill>
              </a:rPr>
              <a:t>Halifax/Northampton</a:t>
            </a:r>
            <a:r>
              <a:rPr lang="en-US" dirty="0" smtClean="0">
                <a:solidFill>
                  <a:schemeClr val="tx1"/>
                </a:solidFill>
              </a:rPr>
              <a:t> – Taylor Hawkins &amp; Linda Smith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Arial"/>
                <a:cs typeface="+mn-cs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Arial"/>
                <a:cs typeface="+mn-cs"/>
              </a:rPr>
              <a:t> </a:t>
            </a:r>
            <a:r>
              <a:rPr lang="en-US" u="sng" dirty="0" smtClean="0">
                <a:solidFill>
                  <a:prstClr val="black"/>
                </a:solidFill>
                <a:latin typeface="Arial"/>
                <a:cs typeface="+mn-cs"/>
              </a:rPr>
              <a:t>Martin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– Ann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Williams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u="sng" dirty="0" smtClean="0">
                <a:solidFill>
                  <a:prstClr val="black"/>
                </a:solidFill>
                <a:latin typeface="Arial"/>
                <a:cs typeface="+mn-cs"/>
              </a:rPr>
              <a:t>Nash/Edgecombe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– Diane Thomas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&amp; Tracy </a:t>
            </a:r>
            <a:r>
              <a:rPr lang="en-US" dirty="0" err="1" smtClean="0">
                <a:solidFill>
                  <a:prstClr val="black"/>
                </a:solidFill>
                <a:latin typeface="Arial"/>
                <a:cs typeface="+mn-cs"/>
              </a:rPr>
              <a:t>Puddy</a:t>
            </a:r>
            <a:r>
              <a:rPr lang="en-US" b="1" i="1" dirty="0">
                <a:solidFill>
                  <a:srgbClr val="00B050"/>
                </a:solidFill>
              </a:rPr>
              <a:t> </a:t>
            </a:r>
            <a:r>
              <a:rPr lang="en-US" sz="800" b="1" i="1" dirty="0">
                <a:solidFill>
                  <a:srgbClr val="00B050"/>
                </a:solidFill>
              </a:rPr>
              <a:t>new</a:t>
            </a:r>
            <a:r>
              <a:rPr lang="en-US" sz="800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  </a:t>
            </a:r>
            <a:r>
              <a:rPr lang="en-US" u="sng" dirty="0" smtClean="0">
                <a:solidFill>
                  <a:prstClr val="black"/>
                </a:solidFill>
                <a:latin typeface="Arial"/>
                <a:cs typeface="+mn-cs"/>
              </a:rPr>
              <a:t>Wilson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– Cheryl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Forbes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u="sng" dirty="0" smtClean="0">
                <a:solidFill>
                  <a:prstClr val="black"/>
                </a:solidFill>
                <a:latin typeface="Arial"/>
                <a:cs typeface="+mn-cs"/>
              </a:rPr>
              <a:t>Pasquotank/Chowan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– Latoria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Roundtree</a:t>
            </a:r>
          </a:p>
          <a:p>
            <a:pPr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u="sng" dirty="0" smtClean="0">
                <a:solidFill>
                  <a:prstClr val="black"/>
                </a:solidFill>
                <a:latin typeface="Arial"/>
                <a:cs typeface="+mn-cs"/>
              </a:rPr>
              <a:t>Pitt</a:t>
            </a:r>
            <a:r>
              <a:rPr lang="en-US" dirty="0" smtClean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en-US" dirty="0">
                <a:solidFill>
                  <a:prstClr val="black"/>
                </a:solidFill>
                <a:latin typeface="Arial"/>
                <a:cs typeface="+mn-cs"/>
              </a:rPr>
              <a:t>– Chanda Speller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b="1" i="1" dirty="0" smtClean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n-US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20</a:t>
            </a:fld>
            <a:endParaRPr lang="en-US">
              <a:solidFill>
                <a:srgbClr val="1F497D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754" y="5524699"/>
            <a:ext cx="2251392" cy="10038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37" y="1455834"/>
            <a:ext cx="2761445" cy="22195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91" y="4024524"/>
            <a:ext cx="4064271" cy="238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812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21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774" y="1341366"/>
            <a:ext cx="12087226" cy="4548404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600" dirty="0" smtClean="0">
                <a:solidFill>
                  <a:schemeClr val="tx1"/>
                </a:solidFill>
              </a:rPr>
              <a:t>Lead/promote Career Pathways work in Centers/Local Area/NEPZ</a:t>
            </a:r>
          </a:p>
          <a:p>
            <a:pPr marL="0" indent="0"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 smtClean="0">
                <a:solidFill>
                  <a:schemeClr val="tx1"/>
                </a:solidFill>
              </a:rPr>
              <a:t>Provide input to help develop trainings &amp; </a:t>
            </a:r>
            <a:r>
              <a:rPr lang="en-US" sz="2600" dirty="0">
                <a:solidFill>
                  <a:schemeClr val="tx1"/>
                </a:solidFill>
              </a:rPr>
              <a:t>tools </a:t>
            </a:r>
            <a:r>
              <a:rPr lang="en-US" sz="2600" dirty="0" smtClean="0">
                <a:solidFill>
                  <a:schemeClr val="tx1"/>
                </a:solidFill>
              </a:rPr>
              <a:t>utilized </a:t>
            </a:r>
            <a:r>
              <a:rPr lang="en-US" sz="2600" dirty="0">
                <a:solidFill>
                  <a:schemeClr val="tx1"/>
                </a:solidFill>
              </a:rPr>
              <a:t>by front line </a:t>
            </a:r>
            <a:r>
              <a:rPr lang="en-US" sz="2600" dirty="0" smtClean="0">
                <a:solidFill>
                  <a:schemeClr val="tx1"/>
                </a:solidFill>
              </a:rPr>
              <a:t>staff</a:t>
            </a:r>
          </a:p>
          <a:p>
            <a:pPr marL="0" indent="0"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 smtClean="0">
                <a:solidFill>
                  <a:schemeClr val="tx1"/>
                </a:solidFill>
              </a:rPr>
              <a:t>Foster </a:t>
            </a:r>
            <a:r>
              <a:rPr lang="en-US" sz="2600" dirty="0">
                <a:solidFill>
                  <a:schemeClr val="tx1"/>
                </a:solidFill>
              </a:rPr>
              <a:t>good working </a:t>
            </a:r>
            <a:r>
              <a:rPr lang="en-US" sz="2600" dirty="0" smtClean="0">
                <a:solidFill>
                  <a:schemeClr val="tx1"/>
                </a:solidFill>
              </a:rPr>
              <a:t>relations locally (CTE/Community College/Partners/ Employers)</a:t>
            </a:r>
            <a:r>
              <a:rPr lang="en-US" sz="2800" dirty="0" smtClean="0">
                <a:solidFill>
                  <a:schemeClr val="tx1"/>
                </a:solidFill>
              </a:rPr>
              <a:t>  </a:t>
            </a:r>
          </a:p>
          <a:p>
            <a:pPr marL="0" indent="0"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 smtClean="0">
                <a:solidFill>
                  <a:schemeClr val="tx1"/>
                </a:solidFill>
              </a:rPr>
              <a:t>Attend </a:t>
            </a:r>
            <a:r>
              <a:rPr lang="en-US" sz="2600" dirty="0">
                <a:solidFill>
                  <a:schemeClr val="tx1"/>
                </a:solidFill>
              </a:rPr>
              <a:t>Career Pathways </a:t>
            </a:r>
            <a:r>
              <a:rPr lang="en-US" sz="2600" dirty="0" smtClean="0">
                <a:solidFill>
                  <a:schemeClr val="tx1"/>
                </a:solidFill>
              </a:rPr>
              <a:t>meetings/conferences/trainings</a:t>
            </a:r>
          </a:p>
          <a:p>
            <a:pPr marL="0" indent="0"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dirty="0" smtClean="0">
                <a:solidFill>
                  <a:schemeClr val="tx1"/>
                </a:solidFill>
              </a:rPr>
              <a:t>Provide updates and disseminate information to center staff</a:t>
            </a:r>
          </a:p>
          <a:p>
            <a:pPr marL="0" indent="0">
              <a:buNone/>
            </a:pPr>
            <a:endParaRPr lang="en-US" sz="13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600" u="sng" dirty="0" smtClean="0">
                <a:solidFill>
                  <a:schemeClr val="tx1"/>
                </a:solidFill>
              </a:rPr>
              <a:t>Vision</a:t>
            </a:r>
            <a:r>
              <a:rPr lang="en-US" sz="2600" dirty="0" smtClean="0">
                <a:solidFill>
                  <a:schemeClr val="tx1"/>
                </a:solidFill>
              </a:rPr>
              <a:t>: </a:t>
            </a:r>
            <a:r>
              <a:rPr lang="en-US" sz="2600" i="1" dirty="0" smtClean="0">
                <a:solidFill>
                  <a:schemeClr val="tx1"/>
                </a:solidFill>
              </a:rPr>
              <a:t>NCWorks </a:t>
            </a:r>
            <a:r>
              <a:rPr lang="en-US" sz="2600" i="1" dirty="0">
                <a:solidFill>
                  <a:schemeClr val="tx1"/>
                </a:solidFill>
              </a:rPr>
              <a:t>Career Centers are expected to be the lead agency for promoting and delivering career awareness, career guidance, and employability skills to provide businesses with a skilled workforce.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004042" y="228813"/>
            <a:ext cx="2333179" cy="706933"/>
          </a:xfrm>
          <a:solidFill>
            <a:schemeClr val="accent6"/>
          </a:solidFill>
        </p:spPr>
        <p:txBody>
          <a:bodyPr>
            <a:noAutofit/>
          </a:bodyPr>
          <a:lstStyle/>
          <a:p>
            <a:r>
              <a:rPr lang="en-US" sz="4400" b="1" i="0" dirty="0" smtClean="0">
                <a:solidFill>
                  <a:schemeClr val="tx2"/>
                </a:solidFill>
              </a:rPr>
              <a:t>Purpose </a:t>
            </a:r>
            <a:endParaRPr lang="en-US" sz="4400" b="1" i="0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9634" y="5436638"/>
            <a:ext cx="2255716" cy="100592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7323" y="76995"/>
            <a:ext cx="2334677" cy="1876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6222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22</a:t>
            </a:fld>
            <a:endParaRPr lang="en-US">
              <a:solidFill>
                <a:srgbClr val="1F497D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8038" y="5638800"/>
            <a:ext cx="2092026" cy="9329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600" y="4701835"/>
            <a:ext cx="2326464" cy="186989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24" y="135900"/>
            <a:ext cx="2951017" cy="221326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8038" y="114877"/>
            <a:ext cx="2092026" cy="27893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24" y="3376612"/>
            <a:ext cx="1963882" cy="26185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3798" y="3376611"/>
            <a:ext cx="1981990" cy="264265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3890" y="342136"/>
            <a:ext cx="3416145" cy="25621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2053" y="4016779"/>
            <a:ext cx="2993967" cy="224547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75725" y="6123754"/>
            <a:ext cx="1959561" cy="27699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prstClr val="black"/>
                </a:solidFill>
              </a:rPr>
              <a:t>Bethel School Career Fair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20438" y="2539724"/>
            <a:ext cx="1814944" cy="46166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Edgecombe CC Working Smart Grad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96309" y="3137346"/>
            <a:ext cx="1385454" cy="646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CTE Signing Day</a:t>
            </a:r>
          </a:p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Pitt CC</a:t>
            </a:r>
          </a:p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Trio Even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127673" y="3137346"/>
            <a:ext cx="1579418" cy="46166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prstClr val="black"/>
                </a:solidFill>
              </a:rPr>
              <a:t>Manufacturing Day - Wilson</a:t>
            </a: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0055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8810" y="261469"/>
            <a:ext cx="3595816" cy="573870"/>
          </a:xfrm>
          <a:solidFill>
            <a:schemeClr val="accent6"/>
          </a:solidFill>
        </p:spPr>
        <p:txBody>
          <a:bodyPr>
            <a:noAutofit/>
          </a:bodyPr>
          <a:lstStyle/>
          <a:p>
            <a:r>
              <a:rPr lang="en-US" sz="4000" b="1" i="0" dirty="0" smtClean="0">
                <a:solidFill>
                  <a:schemeClr val="tx2"/>
                </a:solidFill>
              </a:rPr>
              <a:t>Goals 2018-19</a:t>
            </a:r>
            <a:endParaRPr lang="en-US" sz="4000" b="1" i="0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9845" y="1430763"/>
            <a:ext cx="11105506" cy="4164333"/>
          </a:xfrm>
        </p:spPr>
        <p:txBody>
          <a:bodyPr>
            <a:normAutofit fontScale="77500" lnSpcReduction="20000"/>
          </a:bodyPr>
          <a:lstStyle/>
          <a:p>
            <a:pPr marL="0" lvl="0" indent="0">
              <a:buNone/>
            </a:pPr>
            <a:r>
              <a:rPr lang="en-US" sz="4100" b="1" u="sng" dirty="0" smtClean="0">
                <a:solidFill>
                  <a:schemeClr val="tx1"/>
                </a:solidFill>
              </a:rPr>
              <a:t>Champions will</a:t>
            </a:r>
            <a:r>
              <a:rPr lang="en-US" sz="3200" dirty="0" smtClean="0">
                <a:solidFill>
                  <a:schemeClr val="tx1"/>
                </a:solidFill>
              </a:rPr>
              <a:t>:</a:t>
            </a:r>
          </a:p>
          <a:p>
            <a:pPr lvl="0">
              <a:buFont typeface="Wingdings" panose="05000000000000000000" pitchFamily="2" charset="2"/>
              <a:buChar char="Ø"/>
            </a:pPr>
            <a:endParaRPr lang="en-US" sz="2400" dirty="0" smtClean="0">
              <a:solidFill>
                <a:schemeClr val="tx1"/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3100" dirty="0" smtClean="0">
                <a:solidFill>
                  <a:schemeClr val="tx1"/>
                </a:solidFill>
              </a:rPr>
              <a:t>Present </a:t>
            </a:r>
            <a:r>
              <a:rPr lang="en-US" sz="3100" dirty="0">
                <a:solidFill>
                  <a:schemeClr val="tx1"/>
                </a:solidFill>
              </a:rPr>
              <a:t>Career Pathways </a:t>
            </a:r>
            <a:r>
              <a:rPr lang="en-US" sz="3100" dirty="0" smtClean="0">
                <a:solidFill>
                  <a:schemeClr val="tx1"/>
                </a:solidFill>
              </a:rPr>
              <a:t>info </a:t>
            </a:r>
            <a:r>
              <a:rPr lang="en-US" sz="3100" dirty="0">
                <a:solidFill>
                  <a:schemeClr val="tx1"/>
                </a:solidFill>
              </a:rPr>
              <a:t>at </a:t>
            </a:r>
            <a:r>
              <a:rPr lang="en-US" sz="3100" dirty="0" smtClean="0">
                <a:solidFill>
                  <a:schemeClr val="tx1"/>
                </a:solidFill>
              </a:rPr>
              <a:t>staff/partner </a:t>
            </a:r>
            <a:r>
              <a:rPr lang="en-US" sz="3100" dirty="0">
                <a:solidFill>
                  <a:schemeClr val="tx1"/>
                </a:solidFill>
              </a:rPr>
              <a:t>meetings at least </a:t>
            </a:r>
            <a:r>
              <a:rPr lang="en-US" sz="3100" dirty="0" smtClean="0">
                <a:solidFill>
                  <a:schemeClr val="tx1"/>
                </a:solidFill>
              </a:rPr>
              <a:t>quarterly</a:t>
            </a:r>
          </a:p>
          <a:p>
            <a:pPr marL="0" lvl="0" indent="0">
              <a:buNone/>
            </a:pPr>
            <a:endParaRPr lang="en-US" sz="1200" dirty="0">
              <a:solidFill>
                <a:schemeClr val="tx1"/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3100" dirty="0">
                <a:solidFill>
                  <a:schemeClr val="tx1"/>
                </a:solidFill>
              </a:rPr>
              <a:t>A</a:t>
            </a:r>
            <a:r>
              <a:rPr lang="en-US" sz="3100" dirty="0" smtClean="0">
                <a:solidFill>
                  <a:schemeClr val="tx1"/>
                </a:solidFill>
              </a:rPr>
              <a:t>ttend </a:t>
            </a:r>
            <a:r>
              <a:rPr lang="en-US" sz="3100" dirty="0">
                <a:solidFill>
                  <a:schemeClr val="tx1"/>
                </a:solidFill>
              </a:rPr>
              <a:t>at least 3 community events to promote </a:t>
            </a:r>
            <a:r>
              <a:rPr lang="en-US" sz="3100" dirty="0" smtClean="0">
                <a:solidFill>
                  <a:schemeClr val="tx1"/>
                </a:solidFill>
              </a:rPr>
              <a:t>&amp; </a:t>
            </a:r>
            <a:r>
              <a:rPr lang="en-US" sz="3100" dirty="0">
                <a:solidFill>
                  <a:schemeClr val="tx1"/>
                </a:solidFill>
              </a:rPr>
              <a:t>support Career </a:t>
            </a:r>
            <a:r>
              <a:rPr lang="en-US" sz="3100" dirty="0" smtClean="0">
                <a:solidFill>
                  <a:schemeClr val="tx1"/>
                </a:solidFill>
              </a:rPr>
              <a:t>Pathways</a:t>
            </a:r>
            <a:endParaRPr lang="en-US" sz="3100" dirty="0">
              <a:solidFill>
                <a:schemeClr val="tx1"/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tx1"/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3100" dirty="0">
                <a:solidFill>
                  <a:schemeClr val="tx1"/>
                </a:solidFill>
              </a:rPr>
              <a:t>I</a:t>
            </a:r>
            <a:r>
              <a:rPr lang="en-US" sz="3100" dirty="0" smtClean="0">
                <a:solidFill>
                  <a:schemeClr val="tx1"/>
                </a:solidFill>
              </a:rPr>
              <a:t>dentify </a:t>
            </a:r>
            <a:r>
              <a:rPr lang="en-US" sz="3100" dirty="0">
                <a:solidFill>
                  <a:schemeClr val="tx1"/>
                </a:solidFill>
              </a:rPr>
              <a:t>at least 1 new </a:t>
            </a:r>
            <a:r>
              <a:rPr lang="en-US" sz="3100" dirty="0" smtClean="0">
                <a:solidFill>
                  <a:schemeClr val="tx1"/>
                </a:solidFill>
              </a:rPr>
              <a:t>partner</a:t>
            </a:r>
          </a:p>
          <a:p>
            <a:pPr marL="0" lvl="0" indent="0">
              <a:buNone/>
            </a:pPr>
            <a:endParaRPr lang="en-US" sz="1200" dirty="0">
              <a:solidFill>
                <a:schemeClr val="tx1"/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3100" dirty="0">
                <a:solidFill>
                  <a:schemeClr val="tx1"/>
                </a:solidFill>
              </a:rPr>
              <a:t>P</a:t>
            </a:r>
            <a:r>
              <a:rPr lang="en-US" sz="3100" dirty="0" smtClean="0">
                <a:solidFill>
                  <a:schemeClr val="tx1"/>
                </a:solidFill>
              </a:rPr>
              <a:t>articipate </a:t>
            </a:r>
            <a:r>
              <a:rPr lang="en-US" sz="3100" dirty="0">
                <a:solidFill>
                  <a:schemeClr val="tx1"/>
                </a:solidFill>
              </a:rPr>
              <a:t>in Career Pathways </a:t>
            </a:r>
            <a:r>
              <a:rPr lang="en-US" sz="3100" dirty="0" smtClean="0">
                <a:solidFill>
                  <a:schemeClr val="tx1"/>
                </a:solidFill>
              </a:rPr>
              <a:t>Trainings</a:t>
            </a:r>
          </a:p>
          <a:p>
            <a:pPr marL="0" lvl="0" indent="0">
              <a:buNone/>
            </a:pPr>
            <a:endParaRPr lang="en-US" sz="1300" dirty="0">
              <a:solidFill>
                <a:schemeClr val="tx1"/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3100" dirty="0">
                <a:solidFill>
                  <a:schemeClr val="tx1"/>
                </a:solidFill>
              </a:rPr>
              <a:t>A</a:t>
            </a:r>
            <a:r>
              <a:rPr lang="en-US" sz="3100" dirty="0" smtClean="0">
                <a:solidFill>
                  <a:schemeClr val="tx1"/>
                </a:solidFill>
              </a:rPr>
              <a:t>ssist </a:t>
            </a:r>
            <a:r>
              <a:rPr lang="en-US" sz="3100" dirty="0">
                <a:solidFill>
                  <a:schemeClr val="tx1"/>
                </a:solidFill>
              </a:rPr>
              <a:t>with developing marketing </a:t>
            </a:r>
            <a:r>
              <a:rPr lang="en-US" sz="3100" dirty="0" smtClean="0">
                <a:solidFill>
                  <a:schemeClr val="tx1"/>
                </a:solidFill>
              </a:rPr>
              <a:t>ideas/materials</a:t>
            </a:r>
            <a:endParaRPr lang="en-US" sz="31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smtClean="0">
                <a:solidFill>
                  <a:schemeClr val="tx1"/>
                </a:solidFill>
              </a:rPr>
              <a:t>  </a:t>
            </a:r>
            <a:endParaRPr lang="en-US" sz="2400" dirty="0">
              <a:solidFill>
                <a:schemeClr val="tx1"/>
              </a:solidFill>
            </a:endParaRPr>
          </a:p>
          <a:p>
            <a:endParaRPr lang="en-US" sz="2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23</a:t>
            </a:fld>
            <a:endParaRPr lang="en-US">
              <a:solidFill>
                <a:srgbClr val="1F497D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9634" y="5471528"/>
            <a:ext cx="2255716" cy="100592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45" y="5161291"/>
            <a:ext cx="1637529" cy="13161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1167" y="134678"/>
            <a:ext cx="3334183" cy="1875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93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59" y="153808"/>
            <a:ext cx="4111301" cy="67041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1214" y="190936"/>
            <a:ext cx="6164754" cy="478539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381469" y="4964691"/>
            <a:ext cx="641958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u="sng" dirty="0">
                <a:solidFill>
                  <a:srgbClr val="C00000"/>
                </a:solidFill>
              </a:rPr>
              <a:t>1</a:t>
            </a:r>
            <a:r>
              <a:rPr lang="en-US" b="1" i="1" u="sng" baseline="30000" dirty="0">
                <a:solidFill>
                  <a:srgbClr val="C00000"/>
                </a:solidFill>
              </a:rPr>
              <a:t>st</a:t>
            </a:r>
            <a:r>
              <a:rPr lang="en-US" b="1" i="1" u="sng" dirty="0">
                <a:solidFill>
                  <a:srgbClr val="C00000"/>
                </a:solidFill>
              </a:rPr>
              <a:t> Certified Career Pathway in NC</a:t>
            </a:r>
          </a:p>
          <a:p>
            <a:pPr algn="ctr"/>
            <a:r>
              <a:rPr lang="en-US" b="1" i="1" u="sng" dirty="0">
                <a:solidFill>
                  <a:srgbClr val="C00000"/>
                </a:solidFill>
              </a:rPr>
              <a:t>1</a:t>
            </a:r>
            <a:r>
              <a:rPr lang="en-US" b="1" i="1" u="sng" baseline="30000" dirty="0">
                <a:solidFill>
                  <a:srgbClr val="C00000"/>
                </a:solidFill>
              </a:rPr>
              <a:t>st</a:t>
            </a:r>
            <a:r>
              <a:rPr lang="en-US" b="1" i="1" u="sng" dirty="0">
                <a:solidFill>
                  <a:srgbClr val="C00000"/>
                </a:solidFill>
              </a:rPr>
              <a:t> to have Two Certified Career Pathways</a:t>
            </a:r>
          </a:p>
          <a:p>
            <a:pPr algn="ctr"/>
            <a:r>
              <a:rPr lang="en-US" b="1" i="1" u="sng" dirty="0">
                <a:solidFill>
                  <a:srgbClr val="C00000"/>
                </a:solidFill>
              </a:rPr>
              <a:t>1</a:t>
            </a:r>
            <a:r>
              <a:rPr lang="en-US" b="1" i="1" u="sng" baseline="30000" dirty="0">
                <a:solidFill>
                  <a:srgbClr val="C00000"/>
                </a:solidFill>
              </a:rPr>
              <a:t>st</a:t>
            </a:r>
            <a:r>
              <a:rPr lang="en-US" b="1" i="1" u="sng" dirty="0">
                <a:solidFill>
                  <a:srgbClr val="C00000"/>
                </a:solidFill>
              </a:rPr>
              <a:t> to </a:t>
            </a:r>
            <a:r>
              <a:rPr lang="en-US" b="1" i="1" u="sng" dirty="0" smtClean="0">
                <a:solidFill>
                  <a:srgbClr val="C00000"/>
                </a:solidFill>
              </a:rPr>
              <a:t>receive Certification in Business Support Services</a:t>
            </a:r>
            <a:endParaRPr lang="en-US" b="1" i="1" u="sng" dirty="0">
              <a:solidFill>
                <a:srgbClr val="C00000"/>
              </a:solidFill>
            </a:endParaRPr>
          </a:p>
          <a:p>
            <a:pPr algn="ctr"/>
            <a:endParaRPr lang="en-US" sz="1000" b="1" u="sng" dirty="0" smtClean="0">
              <a:solidFill>
                <a:prstClr val="black"/>
              </a:solidFill>
            </a:endParaRPr>
          </a:p>
          <a:p>
            <a:pPr algn="ctr"/>
            <a:r>
              <a:rPr lang="en-US" sz="1600" b="1" u="sng" dirty="0" smtClean="0">
                <a:solidFill>
                  <a:prstClr val="black"/>
                </a:solidFill>
              </a:rPr>
              <a:t>Future Pathway</a:t>
            </a:r>
            <a:r>
              <a:rPr lang="en-US" sz="1600" dirty="0" smtClean="0">
                <a:solidFill>
                  <a:prstClr val="black"/>
                </a:solidFill>
              </a:rPr>
              <a:t>: </a:t>
            </a:r>
            <a:r>
              <a:rPr lang="en-US" sz="1600" dirty="0" err="1" smtClean="0">
                <a:solidFill>
                  <a:prstClr val="black"/>
                </a:solidFill>
              </a:rPr>
              <a:t>AgriScience</a:t>
            </a:r>
            <a:r>
              <a:rPr lang="en-US" sz="1600" dirty="0" smtClean="0">
                <a:solidFill>
                  <a:prstClr val="black"/>
                </a:solidFill>
              </a:rPr>
              <a:t> &amp; </a:t>
            </a:r>
            <a:r>
              <a:rPr lang="en-US" sz="1600" dirty="0" err="1" smtClean="0">
                <a:solidFill>
                  <a:prstClr val="black"/>
                </a:solidFill>
              </a:rPr>
              <a:t>BioTechnology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85417" y="6396335"/>
            <a:ext cx="3522688" cy="46166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hlinkClick r:id="rId4"/>
              </a:rPr>
              <a:t>http://nencpathways.org</a:t>
            </a:r>
            <a:r>
              <a:rPr lang="en-US" sz="2400" dirty="0" smtClean="0">
                <a:solidFill>
                  <a:prstClr val="black"/>
                </a:solidFill>
                <a:hlinkClick r:id="rId4"/>
              </a:rPr>
              <a:t>/</a:t>
            </a:r>
            <a:r>
              <a:rPr lang="en-US" sz="2400" dirty="0" smtClean="0">
                <a:solidFill>
                  <a:prstClr val="black"/>
                </a:solidFill>
              </a:rPr>
              <a:t> </a:t>
            </a:r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50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25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775" y="1442411"/>
            <a:ext cx="12087225" cy="428952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NCWorks CCs </a:t>
            </a:r>
            <a:r>
              <a:rPr lang="en-US" dirty="0">
                <a:solidFill>
                  <a:schemeClr val="tx1"/>
                </a:solidFill>
              </a:rPr>
              <a:t>were not awarded local implementation status as part of the </a:t>
            </a:r>
            <a:r>
              <a:rPr lang="en-US" dirty="0" smtClean="0">
                <a:solidFill>
                  <a:schemeClr val="tx1"/>
                </a:solidFill>
              </a:rPr>
              <a:t>initial </a:t>
            </a:r>
            <a:r>
              <a:rPr lang="en-US" dirty="0">
                <a:solidFill>
                  <a:schemeClr val="tx1"/>
                </a:solidFill>
              </a:rPr>
              <a:t>implementation </a:t>
            </a:r>
            <a:r>
              <a:rPr lang="en-US" dirty="0" smtClean="0">
                <a:solidFill>
                  <a:schemeClr val="tx1"/>
                </a:solidFill>
              </a:rPr>
              <a:t>proces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To </a:t>
            </a:r>
            <a:r>
              <a:rPr lang="en-US" dirty="0">
                <a:solidFill>
                  <a:schemeClr val="tx1"/>
                </a:solidFill>
              </a:rPr>
              <a:t>remedy that, NCWorks </a:t>
            </a:r>
            <a:r>
              <a:rPr lang="en-US" dirty="0" smtClean="0">
                <a:solidFill>
                  <a:schemeClr val="tx1"/>
                </a:solidFill>
              </a:rPr>
              <a:t>CCs </a:t>
            </a:r>
            <a:r>
              <a:rPr lang="en-US" dirty="0">
                <a:solidFill>
                  <a:schemeClr val="tx1"/>
                </a:solidFill>
              </a:rPr>
              <a:t>in areas which have already received local implementation status are invited to apply for implementation. </a:t>
            </a:r>
            <a:endParaRPr lang="en-US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Review </a:t>
            </a:r>
            <a:r>
              <a:rPr lang="en-US" dirty="0">
                <a:solidFill>
                  <a:schemeClr val="tx1"/>
                </a:solidFill>
              </a:rPr>
              <a:t>team will consult with the WDB Director and </a:t>
            </a:r>
            <a:r>
              <a:rPr lang="en-US" dirty="0" smtClean="0">
                <a:solidFill>
                  <a:schemeClr val="tx1"/>
                </a:solidFill>
              </a:rPr>
              <a:t>NCWorks </a:t>
            </a:r>
            <a:r>
              <a:rPr lang="en-US" dirty="0">
                <a:solidFill>
                  <a:schemeClr val="tx1"/>
                </a:solidFill>
              </a:rPr>
              <a:t>Regional Operations Director to determine </a:t>
            </a:r>
            <a:r>
              <a:rPr lang="en-US" dirty="0" smtClean="0">
                <a:solidFill>
                  <a:schemeClr val="tx1"/>
                </a:solidFill>
              </a:rPr>
              <a:t>readiness </a:t>
            </a:r>
            <a:r>
              <a:rPr lang="en-US" dirty="0">
                <a:solidFill>
                  <a:schemeClr val="tx1"/>
                </a:solidFill>
              </a:rPr>
              <a:t>of NCWorks </a:t>
            </a:r>
            <a:r>
              <a:rPr lang="en-US" dirty="0" smtClean="0">
                <a:solidFill>
                  <a:schemeClr val="tx1"/>
                </a:solidFill>
              </a:rPr>
              <a:t>CCs </a:t>
            </a:r>
            <a:r>
              <a:rPr lang="en-US" dirty="0">
                <a:solidFill>
                  <a:schemeClr val="tx1"/>
                </a:solidFill>
              </a:rPr>
              <a:t>in the local partnership to receive implementation certification.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u="sng" dirty="0" smtClean="0">
                <a:solidFill>
                  <a:schemeClr val="tx1"/>
                </a:solidFill>
              </a:rPr>
              <a:t>The following information will be requested / provided</a:t>
            </a:r>
            <a:r>
              <a:rPr lang="en-US" dirty="0" smtClean="0">
                <a:solidFill>
                  <a:schemeClr val="tx1"/>
                </a:solidFill>
              </a:rPr>
              <a:t>: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</a:rPr>
              <a:t>1. Provide </a:t>
            </a:r>
            <a:r>
              <a:rPr lang="en-US" dirty="0">
                <a:solidFill>
                  <a:schemeClr val="tx1"/>
                </a:solidFill>
              </a:rPr>
              <a:t>documentation of local implementation meetings attended by M</a:t>
            </a:r>
            <a:r>
              <a:rPr lang="en-US" dirty="0" smtClean="0">
                <a:solidFill>
                  <a:schemeClr val="tx1"/>
                </a:solidFill>
              </a:rPr>
              <a:t>anager </a:t>
            </a:r>
            <a:r>
              <a:rPr lang="en-US" dirty="0">
                <a:solidFill>
                  <a:schemeClr val="tx1"/>
                </a:solidFill>
              </a:rPr>
              <a:t>and/or Champion. Document </a:t>
            </a: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    input </a:t>
            </a:r>
            <a:r>
              <a:rPr lang="en-US" dirty="0">
                <a:solidFill>
                  <a:schemeClr val="tx1"/>
                </a:solidFill>
              </a:rPr>
              <a:t>provided during the planning process and/or since the certification.</a:t>
            </a:r>
          </a:p>
          <a:p>
            <a:pPr marL="457200" lvl="1" indent="0">
              <a:buNone/>
            </a:pPr>
            <a:endParaRPr lang="en-US" sz="1000" dirty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</a:rPr>
              <a:t>2. Document </a:t>
            </a:r>
            <a:r>
              <a:rPr lang="en-US" dirty="0">
                <a:solidFill>
                  <a:schemeClr val="tx1"/>
                </a:solidFill>
              </a:rPr>
              <a:t>meetings/training provided by manager and/or Champion to staff, specific to pathway. </a:t>
            </a:r>
          </a:p>
          <a:p>
            <a:pPr marL="457200" lvl="1" indent="0">
              <a:buNone/>
            </a:pPr>
            <a:endParaRPr lang="en-US" sz="1000" dirty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tx1"/>
                </a:solidFill>
              </a:rPr>
              <a:t>3. Provide </a:t>
            </a:r>
            <a:r>
              <a:rPr lang="en-US" dirty="0">
                <a:solidFill>
                  <a:schemeClr val="tx1"/>
                </a:solidFill>
              </a:rPr>
              <a:t>documentation of collaboration with local implementation partners specific to the pathway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165147" y="161190"/>
            <a:ext cx="6299231" cy="872512"/>
          </a:xfrm>
          <a:solidFill>
            <a:schemeClr val="accent6"/>
          </a:solidFill>
        </p:spPr>
        <p:txBody>
          <a:bodyPr>
            <a:normAutofit fontScale="90000"/>
          </a:bodyPr>
          <a:lstStyle/>
          <a:p>
            <a:r>
              <a:rPr lang="en-US" b="1" i="0" dirty="0" smtClean="0">
                <a:solidFill>
                  <a:schemeClr val="tx2"/>
                </a:solidFill>
              </a:rPr>
              <a:t>Career Centers &amp; Local Pathway Implementation Certification</a:t>
            </a:r>
            <a:endParaRPr lang="en-US" b="1" i="0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8038" y="5638800"/>
            <a:ext cx="2092026" cy="93293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25769" y="5822048"/>
            <a:ext cx="837788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hlinkClick r:id="rId3"/>
              </a:rPr>
              <a:t>http://nencpathways.org/2018/09/21/updated-local-implementation-applications</a:t>
            </a:r>
            <a:r>
              <a:rPr lang="en-US" dirty="0" smtClean="0">
                <a:solidFill>
                  <a:prstClr val="black"/>
                </a:solidFill>
                <a:hlinkClick r:id="rId3"/>
              </a:rPr>
              <a:t>/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8931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7F3A-B3E9-41ED-AF8F-A365F10BB65F}" type="slidenum">
              <a:rPr lang="en-US" smtClean="0">
                <a:solidFill>
                  <a:srgbClr val="1F497D"/>
                </a:solidFill>
              </a:rPr>
              <a:pPr/>
              <a:t>26</a:t>
            </a:fld>
            <a:endParaRPr lang="en-US">
              <a:solidFill>
                <a:srgbClr val="1F497D"/>
              </a:solidFill>
            </a:endParaRPr>
          </a:p>
        </p:txBody>
      </p:sp>
      <p:pic>
        <p:nvPicPr>
          <p:cNvPr id="7" name="Content Placeholder 6">
            <a:hlinkClick r:id="rId2"/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88" y="170237"/>
            <a:ext cx="11793894" cy="6255277"/>
          </a:xfrm>
        </p:spPr>
      </p:pic>
    </p:spTree>
    <p:extLst>
      <p:ext uri="{BB962C8B-B14F-4D97-AF65-F5344CB8AC3E}">
        <p14:creationId xmlns:p14="http://schemas.microsoft.com/office/powerpoint/2010/main" val="4146188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 PERSP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dirty="0" smtClean="0"/>
              <a:t>Emily Nicholson</a:t>
            </a:r>
          </a:p>
          <a:p>
            <a:pPr marL="0" indent="0" algn="ctr">
              <a:buNone/>
            </a:pPr>
            <a:r>
              <a:rPr lang="en-US" dirty="0" smtClean="0"/>
              <a:t>Assistant Director</a:t>
            </a:r>
          </a:p>
          <a:p>
            <a:pPr marL="0" indent="0" algn="ctr">
              <a:buNone/>
            </a:pPr>
            <a:r>
              <a:rPr lang="en-US" dirty="0" smtClean="0"/>
              <a:t>Northeastern Workforce Development Board</a:t>
            </a:r>
          </a:p>
          <a:p>
            <a:pPr marL="0" indent="0" algn="ctr">
              <a:buNone/>
            </a:pP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0278" y="3782353"/>
            <a:ext cx="2875074" cy="283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93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8-2019 Projects and Activiti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01631" y="1690688"/>
            <a:ext cx="3789141" cy="4768358"/>
          </a:xfrm>
          <a:prstGeom prst="rect">
            <a:avLst/>
          </a:prstGeom>
        </p:spPr>
      </p:pic>
      <p:sp>
        <p:nvSpPr>
          <p:cNvPr id="5" name="7-Point Star 4"/>
          <p:cNvSpPr/>
          <p:nvPr/>
        </p:nvSpPr>
        <p:spPr>
          <a:xfrm>
            <a:off x="579549" y="1571223"/>
            <a:ext cx="1712890" cy="1481070"/>
          </a:xfrm>
          <a:prstGeom prst="star7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838200" y="1983346"/>
            <a:ext cx="1454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pply for Certification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1401" y="1690688"/>
            <a:ext cx="2597121" cy="173751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4878" y="4061988"/>
            <a:ext cx="2363644" cy="2266265"/>
          </a:xfrm>
          <a:prstGeom prst="rect">
            <a:avLst/>
          </a:prstGeom>
        </p:spPr>
      </p:pic>
      <p:sp>
        <p:nvSpPr>
          <p:cNvPr id="9" name="7-Point Star 8"/>
          <p:cNvSpPr/>
          <p:nvPr/>
        </p:nvSpPr>
        <p:spPr>
          <a:xfrm>
            <a:off x="7000422" y="5063992"/>
            <a:ext cx="1539789" cy="1504234"/>
          </a:xfrm>
          <a:prstGeom prst="star7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Periodic Review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48974" y="1941608"/>
            <a:ext cx="1572904" cy="1536325"/>
          </a:xfrm>
          <a:prstGeom prst="rect">
            <a:avLst/>
          </a:prstGeom>
        </p:spPr>
      </p:pic>
      <p:sp>
        <p:nvSpPr>
          <p:cNvPr id="11" name="7-Point Star 10"/>
          <p:cNvSpPr/>
          <p:nvPr/>
        </p:nvSpPr>
        <p:spPr>
          <a:xfrm>
            <a:off x="6171123" y="1868444"/>
            <a:ext cx="1820278" cy="1648496"/>
          </a:xfrm>
          <a:prstGeom prst="star7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3 year </a:t>
            </a:r>
            <a:r>
              <a:rPr lang="en-US" sz="1100" dirty="0" smtClean="0">
                <a:solidFill>
                  <a:schemeClr val="tx1"/>
                </a:solidFill>
              </a:rPr>
              <a:t>recertification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549" y="3987507"/>
            <a:ext cx="1572904" cy="153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39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-2019 Projects and Activitie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0622" y="2144561"/>
            <a:ext cx="3548945" cy="354894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726546" y="2154076"/>
            <a:ext cx="622049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200" dirty="0" smtClean="0"/>
              <a:t>5</a:t>
            </a:r>
            <a:r>
              <a:rPr lang="en-US" sz="3200" baseline="30000" dirty="0" smtClean="0"/>
              <a:t>th</a:t>
            </a:r>
            <a:r>
              <a:rPr lang="en-US" sz="3200" dirty="0" smtClean="0"/>
              <a:t> Annual Career Guidance Retreat – GADJ “Guidance and Direction for Jobseekers”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200" dirty="0" smtClean="0"/>
              <a:t>Social Media Training – </a:t>
            </a:r>
            <a:r>
              <a:rPr lang="en-US" sz="3200" dirty="0" smtClean="0">
                <a:solidFill>
                  <a:srgbClr val="FF0000"/>
                </a:solidFill>
              </a:rPr>
              <a:t>Dec. 10th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200" dirty="0" err="1" smtClean="0"/>
              <a:t>Traitify</a:t>
            </a:r>
            <a:r>
              <a:rPr lang="en-US" sz="3200" dirty="0" smtClean="0"/>
              <a:t> administrator training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200" dirty="0" smtClean="0"/>
              <a:t>Career Ladder Training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200" dirty="0" smtClean="0"/>
              <a:t>Career Pathways training (toolkit) 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5351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3101" y="4197103"/>
            <a:ext cx="3048000" cy="2028825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77" y="4197103"/>
            <a:ext cx="3030715" cy="20288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5811" y="1261681"/>
            <a:ext cx="4043501" cy="52485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l="2724" t="10881" r="1891" b="13459"/>
          <a:stretch/>
        </p:blipFill>
        <p:spPr>
          <a:xfrm>
            <a:off x="362688" y="1690688"/>
            <a:ext cx="3005704" cy="219526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876541" y="1506828"/>
            <a:ext cx="336138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LOCAL IMPLEMENTATION</a:t>
            </a:r>
          </a:p>
          <a:p>
            <a:pPr algn="ctr"/>
            <a:endParaRPr lang="en-US" b="1" u="sng" dirty="0" smtClean="0"/>
          </a:p>
          <a:p>
            <a:pPr algn="ctr"/>
            <a:r>
              <a:rPr lang="en-US" i="1" u="sng" dirty="0" smtClean="0"/>
              <a:t>Advanced Manufacturing</a:t>
            </a:r>
          </a:p>
          <a:p>
            <a:pPr algn="ctr"/>
            <a:r>
              <a:rPr lang="en-US" dirty="0" smtClean="0"/>
              <a:t>College of the Albemarle</a:t>
            </a:r>
          </a:p>
          <a:p>
            <a:pPr algn="ctr"/>
            <a:r>
              <a:rPr lang="en-US" dirty="0" smtClean="0"/>
              <a:t>Nash Community College</a:t>
            </a:r>
          </a:p>
          <a:p>
            <a:pPr algn="ctr"/>
            <a:endParaRPr lang="en-US" dirty="0"/>
          </a:p>
          <a:p>
            <a:pPr algn="ctr"/>
            <a:r>
              <a:rPr lang="en-US" i="1" u="sng" dirty="0" smtClean="0"/>
              <a:t>Health Care</a:t>
            </a:r>
          </a:p>
          <a:p>
            <a:pPr algn="ctr"/>
            <a:r>
              <a:rPr lang="en-US" dirty="0" smtClean="0"/>
              <a:t>College of the Albemarle</a:t>
            </a:r>
          </a:p>
          <a:p>
            <a:pPr algn="ctr"/>
            <a:r>
              <a:rPr lang="en-US" dirty="0" smtClean="0"/>
              <a:t>Pitt Community Colle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91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-2019 Projects and Activitie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703567"/>
            <a:ext cx="6652937" cy="49897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3753" y="2781836"/>
            <a:ext cx="3406625" cy="2256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88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-2019 Projects and Activitie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46323" y="1690688"/>
            <a:ext cx="7345677" cy="41319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47184"/>
            <a:ext cx="5578750" cy="32602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108360" y="5822632"/>
            <a:ext cx="52932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www.ncbce.org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743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coming Event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9411" y="1820124"/>
            <a:ext cx="10515600" cy="41562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3956"/>
            <a:ext cx="2249424" cy="180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192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01394" y="850006"/>
            <a:ext cx="8339206" cy="5545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26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7751" y="5229182"/>
            <a:ext cx="2368926" cy="1480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1721" y="1347612"/>
            <a:ext cx="2444708" cy="1956986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6015" t="9247" r="4627" b="6990"/>
          <a:stretch/>
        </p:blipFill>
        <p:spPr>
          <a:xfrm>
            <a:off x="264510" y="3116067"/>
            <a:ext cx="6819130" cy="359369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/>
          <a:srcRect l="7923" t="30037" r="43380" b="8336"/>
          <a:stretch/>
        </p:blipFill>
        <p:spPr>
          <a:xfrm>
            <a:off x="7313497" y="1690689"/>
            <a:ext cx="3837434" cy="337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55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8019" y="206679"/>
            <a:ext cx="3694496" cy="654767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578" y="1181462"/>
            <a:ext cx="2445643" cy="1954069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55783" y="3135531"/>
            <a:ext cx="4366458" cy="3362920"/>
          </a:xfrm>
          <a:prstGeom prst="rect">
            <a:avLst/>
          </a:prstGeom>
        </p:spPr>
      </p:pic>
      <p:pic>
        <p:nvPicPr>
          <p:cNvPr id="3" name="Picture 2">
            <a:hlinkClick r:id="rId5"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1397" y="1606501"/>
            <a:ext cx="4133446" cy="259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95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413764" y="2083201"/>
            <a:ext cx="3301890" cy="43513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20" t="31549" r="10470" b="18686"/>
          <a:stretch/>
        </p:blipFill>
        <p:spPr>
          <a:xfrm>
            <a:off x="782595" y="1561093"/>
            <a:ext cx="7132058" cy="33992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940" y="1043534"/>
            <a:ext cx="2515538" cy="88783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7942" y="5117664"/>
            <a:ext cx="5042596" cy="1574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840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-2018 Projects &amp; Activit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9695" y="4150791"/>
            <a:ext cx="3249450" cy="21947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92" y="1567450"/>
            <a:ext cx="3099516" cy="2324637"/>
          </a:xfrm>
          <a:prstGeom prst="rect">
            <a:avLst/>
          </a:prstGeom>
        </p:spPr>
      </p:pic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024268" y="1412155"/>
            <a:ext cx="3263503" cy="43513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71" r="1902"/>
          <a:stretch/>
        </p:blipFill>
        <p:spPr>
          <a:xfrm>
            <a:off x="7838331" y="1551045"/>
            <a:ext cx="3210814" cy="203677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65" r="21108"/>
          <a:stretch/>
        </p:blipFill>
        <p:spPr>
          <a:xfrm>
            <a:off x="335555" y="4169872"/>
            <a:ext cx="3176789" cy="22087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7756" y="5792573"/>
            <a:ext cx="3290015" cy="101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361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7" t="28173" r="7244" b="2372"/>
          <a:stretch/>
        </p:blipFill>
        <p:spPr>
          <a:xfrm>
            <a:off x="300773" y="1690688"/>
            <a:ext cx="5788670" cy="2833352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60" r="69"/>
          <a:stretch/>
        </p:blipFill>
        <p:spPr>
          <a:xfrm>
            <a:off x="4698525" y="3971298"/>
            <a:ext cx="5797757" cy="2886702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1" t="15251" r="18950" b="526"/>
          <a:stretch/>
        </p:blipFill>
        <p:spPr>
          <a:xfrm>
            <a:off x="6626870" y="1493949"/>
            <a:ext cx="4478751" cy="287199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50299" y="4667347"/>
            <a:ext cx="3429657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College </a:t>
            </a:r>
          </a:p>
          <a:p>
            <a:pPr algn="ctr"/>
            <a:r>
              <a:rPr lang="en-US" sz="540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Partnership</a:t>
            </a:r>
            <a:endParaRPr lang="en-U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900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7-2018 Projects &amp; Activiti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50371" y="1465015"/>
            <a:ext cx="3864089" cy="515211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812" y="1806598"/>
            <a:ext cx="4116951" cy="27396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43944" y="4778062"/>
            <a:ext cx="48038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 smtClean="0"/>
              <a:t>Agriscience</a:t>
            </a:r>
            <a:r>
              <a:rPr lang="en-US" sz="2000" b="1" dirty="0" smtClean="0"/>
              <a:t>/Biotechnology Pathway Review</a:t>
            </a:r>
          </a:p>
          <a:p>
            <a:pPr algn="ctr"/>
            <a:r>
              <a:rPr lang="en-US" dirty="0" smtClean="0"/>
              <a:t>Pitt Community College </a:t>
            </a:r>
          </a:p>
          <a:p>
            <a:pPr algn="ctr"/>
            <a:r>
              <a:rPr lang="en-US" dirty="0" smtClean="0"/>
              <a:t>November 3, 2017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917068" y="2614411"/>
            <a:ext cx="204740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Advanced Manufacturing Pathway Review</a:t>
            </a:r>
          </a:p>
          <a:p>
            <a:pPr algn="ctr"/>
            <a:r>
              <a:rPr lang="en-US" dirty="0" smtClean="0"/>
              <a:t>Roanoke-Chowan Community College</a:t>
            </a:r>
          </a:p>
          <a:p>
            <a:pPr algn="ctr"/>
            <a:endParaRPr lang="en-US" dirty="0"/>
          </a:p>
          <a:p>
            <a:pPr algn="ctr"/>
            <a:r>
              <a:rPr lang="en-US" dirty="0" smtClean="0"/>
              <a:t>March 8, 2018</a:t>
            </a:r>
          </a:p>
        </p:txBody>
      </p:sp>
    </p:spTree>
    <p:extLst>
      <p:ext uri="{BB962C8B-B14F-4D97-AF65-F5344CB8AC3E}">
        <p14:creationId xmlns:p14="http://schemas.microsoft.com/office/powerpoint/2010/main" val="506206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52</TotalTime>
  <Words>1011</Words>
  <Application>Microsoft Office PowerPoint</Application>
  <PresentationFormat>Widescreen</PresentationFormat>
  <Paragraphs>204</Paragraphs>
  <Slides>3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맑은 고딕</vt:lpstr>
      <vt:lpstr>Arial</vt:lpstr>
      <vt:lpstr>Calibri</vt:lpstr>
      <vt:lpstr>Calibri Light</vt:lpstr>
      <vt:lpstr>Open Sans</vt:lpstr>
      <vt:lpstr>Times New Roman</vt:lpstr>
      <vt:lpstr>Titillium</vt:lpstr>
      <vt:lpstr>Wingdings</vt:lpstr>
      <vt:lpstr>Office Theme</vt:lpstr>
      <vt:lpstr>2_Office Theme</vt:lpstr>
      <vt:lpstr>think-cell Slide</vt:lpstr>
      <vt:lpstr>PowerPoint Presentation</vt:lpstr>
      <vt:lpstr>2017-2018 Projects &amp; Activities</vt:lpstr>
      <vt:lpstr>2017-2018 Projects &amp; Activities</vt:lpstr>
      <vt:lpstr>2017-2018 Projects &amp; Activities</vt:lpstr>
      <vt:lpstr>2017-2018 Projects &amp; Activities</vt:lpstr>
      <vt:lpstr>2017-2018 Projects &amp; Activities</vt:lpstr>
      <vt:lpstr>2017-2018 Projects &amp; Activities</vt:lpstr>
      <vt:lpstr>2017-2018 Projects &amp; Activities</vt:lpstr>
      <vt:lpstr>2017-2018 Projects &amp; Activities</vt:lpstr>
      <vt:lpstr>2017-2018 Projects &amp; Activities</vt:lpstr>
      <vt:lpstr>Keynote</vt:lpstr>
      <vt:lpstr>STAKEHOLDER PERSPECTIVE</vt:lpstr>
      <vt:lpstr>Maximizing Career Outreach through Effective Partnerships</vt:lpstr>
      <vt:lpstr>PowerPoint Presentation</vt:lpstr>
      <vt:lpstr>PowerPoint Presentation</vt:lpstr>
      <vt:lpstr>Connecting the Dots</vt:lpstr>
      <vt:lpstr>PowerPoint Presentation</vt:lpstr>
      <vt:lpstr>New Initiative Fast Track to Industry</vt:lpstr>
      <vt:lpstr>Pitt Community College’s Mission Statement:  “…PCC provides access to dynamic learning opportunities designed to foster successful career preparation, higher education transfer, community involvement, and global engagement.” </vt:lpstr>
      <vt:lpstr>NCWorks Career Pathways “Champions”</vt:lpstr>
      <vt:lpstr>Purpose </vt:lpstr>
      <vt:lpstr>PowerPoint Presentation</vt:lpstr>
      <vt:lpstr>Goals 2018-19</vt:lpstr>
      <vt:lpstr>PowerPoint Presentation</vt:lpstr>
      <vt:lpstr>Career Centers &amp; Local Pathway Implementation Certification</vt:lpstr>
      <vt:lpstr>PowerPoint Presentation</vt:lpstr>
      <vt:lpstr>STAKEHOLDER PERSPECTIVE</vt:lpstr>
      <vt:lpstr>2018-2019 Projects and Activities</vt:lpstr>
      <vt:lpstr>2018-2019 Projects and Activities</vt:lpstr>
      <vt:lpstr>2018-2019 Projects and Activities</vt:lpstr>
      <vt:lpstr>2018-2019 Projects and Activities</vt:lpstr>
      <vt:lpstr>Upcoming Ev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gg, Brandi</dc:creator>
  <cp:lastModifiedBy>Windows User</cp:lastModifiedBy>
  <cp:revision>32</cp:revision>
  <dcterms:created xsi:type="dcterms:W3CDTF">2018-10-23T12:21:28Z</dcterms:created>
  <dcterms:modified xsi:type="dcterms:W3CDTF">2018-10-26T13:18:56Z</dcterms:modified>
</cp:coreProperties>
</file>